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30" r:id="rId2"/>
  </p:sldMasterIdLst>
  <p:notesMasterIdLst>
    <p:notesMasterId r:id="rId30"/>
  </p:notesMasterIdLst>
  <p:sldIdLst>
    <p:sldId id="257" r:id="rId3"/>
    <p:sldId id="4889" r:id="rId4"/>
    <p:sldId id="4865" r:id="rId5"/>
    <p:sldId id="4904" r:id="rId6"/>
    <p:sldId id="4905" r:id="rId7"/>
    <p:sldId id="4906" r:id="rId8"/>
    <p:sldId id="4886" r:id="rId9"/>
    <p:sldId id="258" r:id="rId10"/>
    <p:sldId id="305" r:id="rId11"/>
    <p:sldId id="317" r:id="rId12"/>
    <p:sldId id="307" r:id="rId13"/>
    <p:sldId id="311" r:id="rId14"/>
    <p:sldId id="312" r:id="rId15"/>
    <p:sldId id="313" r:id="rId16"/>
    <p:sldId id="308" r:id="rId17"/>
    <p:sldId id="309" r:id="rId18"/>
    <p:sldId id="310" r:id="rId19"/>
    <p:sldId id="260" r:id="rId20"/>
    <p:sldId id="4866" r:id="rId21"/>
    <p:sldId id="4867" r:id="rId22"/>
    <p:sldId id="297" r:id="rId23"/>
    <p:sldId id="4868" r:id="rId24"/>
    <p:sldId id="4872" r:id="rId25"/>
    <p:sldId id="4873" r:id="rId26"/>
    <p:sldId id="4874" r:id="rId27"/>
    <p:sldId id="315" r:id="rId28"/>
    <p:sldId id="3583" r:id="rId29"/>
  </p:sldIdLst>
  <p:sldSz cx="12192000" cy="6858000"/>
  <p:notesSz cx="6858000" cy="91440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301B821-A1FF-4177-AEE7-76D212191A09}" styleName="Μεσαίο στυλ 1 - Έμφαση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Φωτεινό στυλ 2 - Έμφαση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Φωτεινό στυλ 2 - Έμφαση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Σκούρο στυλ 2 - Έμφαση 1/Έμφαση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E25E649-3F16-4E02-A733-19D2CDBF48F0}" styleName="Μεσαίο στυλ 3 - Έμφαση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93D81CF-94F2-401A-BA57-92F5A7B2D0C5}" styleName="Μεσαίο στυλ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CAF9ED-07DC-4A11-8D7F-57B35C25682E}" styleName="Μεσαίο στυλ 1 - Έμφαση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Μεσαίο στυλ 2 - Έμφαση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88" autoAdjust="0"/>
    <p:restoredTop sz="95548"/>
  </p:normalViewPr>
  <p:slideViewPr>
    <p:cSldViewPr snapToGrid="0" snapToObjects="1">
      <p:cViewPr varScale="1">
        <p:scale>
          <a:sx n="89" d="100"/>
          <a:sy n="89" d="100"/>
        </p:scale>
        <p:origin x="1020" y="90"/>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96" d="100"/>
          <a:sy n="96" d="100"/>
        </p:scale>
        <p:origin x="2480"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κεφαλίδας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l-GR"/>
          </a:p>
        </p:txBody>
      </p:sp>
      <p:sp>
        <p:nvSpPr>
          <p:cNvPr id="3" name="Θέση ημερομηνίας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E632CE-B59F-4240-BDA2-65D16EE265A1}" type="datetimeFigureOut">
              <a:rPr lang="el-GR" smtClean="0"/>
              <a:t>18/1/2023</a:t>
            </a:fld>
            <a:endParaRPr lang="el-GR"/>
          </a:p>
        </p:txBody>
      </p:sp>
      <p:sp>
        <p:nvSpPr>
          <p:cNvPr id="4" name="Θέση εικόνας διαφάνειας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l-GR"/>
          </a:p>
        </p:txBody>
      </p:sp>
      <p:sp>
        <p:nvSpPr>
          <p:cNvPr id="5" name="Θέση σημειώσεων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6" name="Θέση υποσέλιδου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7" name="Θέση αριθμού διαφάνειας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B39D28-686F-4444-85D5-F698CA9EC52B}" type="slidenum">
              <a:rPr lang="el-GR" smtClean="0"/>
              <a:t>‹#›</a:t>
            </a:fld>
            <a:endParaRPr lang="el-GR"/>
          </a:p>
        </p:txBody>
      </p:sp>
    </p:spTree>
    <p:extLst>
      <p:ext uri="{BB962C8B-B14F-4D97-AF65-F5344CB8AC3E}">
        <p14:creationId xmlns:p14="http://schemas.microsoft.com/office/powerpoint/2010/main" val="37893786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6" Type="http://schemas.openxmlformats.org/officeDocument/2006/relationships/image" Target="../media/image35.png"/><Relationship Id="rId21" Type="http://schemas.openxmlformats.org/officeDocument/2006/relationships/image" Target="../media/image30.png"/><Relationship Id="rId34" Type="http://schemas.openxmlformats.org/officeDocument/2006/relationships/image" Target="../media/image43.png"/><Relationship Id="rId42" Type="http://schemas.openxmlformats.org/officeDocument/2006/relationships/image" Target="../media/image51.png"/><Relationship Id="rId47" Type="http://schemas.openxmlformats.org/officeDocument/2006/relationships/image" Target="../media/image56.png"/><Relationship Id="rId50" Type="http://schemas.openxmlformats.org/officeDocument/2006/relationships/image" Target="../media/image59.png"/><Relationship Id="rId55" Type="http://schemas.openxmlformats.org/officeDocument/2006/relationships/image" Target="../media/image64.png"/><Relationship Id="rId63" Type="http://schemas.openxmlformats.org/officeDocument/2006/relationships/image" Target="../media/image72.png"/><Relationship Id="rId7" Type="http://schemas.openxmlformats.org/officeDocument/2006/relationships/image" Target="../media/image16.png"/><Relationship Id="rId2" Type="http://schemas.openxmlformats.org/officeDocument/2006/relationships/image" Target="../media/image11.png"/><Relationship Id="rId16" Type="http://schemas.openxmlformats.org/officeDocument/2006/relationships/image" Target="../media/image25.png"/><Relationship Id="rId29" Type="http://schemas.openxmlformats.org/officeDocument/2006/relationships/image" Target="../media/image38.png"/><Relationship Id="rId11" Type="http://schemas.openxmlformats.org/officeDocument/2006/relationships/image" Target="../media/image20.png"/><Relationship Id="rId24" Type="http://schemas.openxmlformats.org/officeDocument/2006/relationships/image" Target="../media/image33.png"/><Relationship Id="rId32" Type="http://schemas.openxmlformats.org/officeDocument/2006/relationships/image" Target="../media/image41.png"/><Relationship Id="rId37" Type="http://schemas.openxmlformats.org/officeDocument/2006/relationships/image" Target="../media/image46.png"/><Relationship Id="rId40" Type="http://schemas.openxmlformats.org/officeDocument/2006/relationships/image" Target="../media/image49.png"/><Relationship Id="rId45" Type="http://schemas.openxmlformats.org/officeDocument/2006/relationships/image" Target="../media/image54.png"/><Relationship Id="rId53" Type="http://schemas.openxmlformats.org/officeDocument/2006/relationships/image" Target="../media/image62.png"/><Relationship Id="rId58" Type="http://schemas.openxmlformats.org/officeDocument/2006/relationships/image" Target="../media/image67.png"/><Relationship Id="rId5" Type="http://schemas.openxmlformats.org/officeDocument/2006/relationships/image" Target="../media/image14.png"/><Relationship Id="rId61" Type="http://schemas.openxmlformats.org/officeDocument/2006/relationships/image" Target="../media/image70.png"/><Relationship Id="rId19" Type="http://schemas.openxmlformats.org/officeDocument/2006/relationships/image" Target="../media/image2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43" Type="http://schemas.openxmlformats.org/officeDocument/2006/relationships/image" Target="../media/image52.png"/><Relationship Id="rId48" Type="http://schemas.openxmlformats.org/officeDocument/2006/relationships/image" Target="../media/image57.png"/><Relationship Id="rId56" Type="http://schemas.openxmlformats.org/officeDocument/2006/relationships/image" Target="../media/image65.png"/><Relationship Id="rId64" Type="http://schemas.openxmlformats.org/officeDocument/2006/relationships/image" Target="../media/image73.png"/><Relationship Id="rId8" Type="http://schemas.openxmlformats.org/officeDocument/2006/relationships/image" Target="../media/image17.png"/><Relationship Id="rId51" Type="http://schemas.openxmlformats.org/officeDocument/2006/relationships/image" Target="../media/image60.png"/><Relationship Id="rId3" Type="http://schemas.openxmlformats.org/officeDocument/2006/relationships/image" Target="../media/image12.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46" Type="http://schemas.openxmlformats.org/officeDocument/2006/relationships/image" Target="../media/image55.png"/><Relationship Id="rId59" Type="http://schemas.openxmlformats.org/officeDocument/2006/relationships/image" Target="../media/image68.png"/><Relationship Id="rId20" Type="http://schemas.openxmlformats.org/officeDocument/2006/relationships/image" Target="../media/image29.png"/><Relationship Id="rId41" Type="http://schemas.openxmlformats.org/officeDocument/2006/relationships/image" Target="../media/image50.png"/><Relationship Id="rId54" Type="http://schemas.openxmlformats.org/officeDocument/2006/relationships/image" Target="../media/image63.png"/><Relationship Id="rId62" Type="http://schemas.openxmlformats.org/officeDocument/2006/relationships/image" Target="../media/image71.png"/><Relationship Id="rId1" Type="http://schemas.openxmlformats.org/officeDocument/2006/relationships/slideMaster" Target="../slideMasters/slideMaster1.xml"/><Relationship Id="rId6" Type="http://schemas.openxmlformats.org/officeDocument/2006/relationships/image" Target="../media/image15.pn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36" Type="http://schemas.openxmlformats.org/officeDocument/2006/relationships/image" Target="../media/image45.png"/><Relationship Id="rId49" Type="http://schemas.openxmlformats.org/officeDocument/2006/relationships/image" Target="../media/image58.png"/><Relationship Id="rId57" Type="http://schemas.openxmlformats.org/officeDocument/2006/relationships/image" Target="../media/image66.png"/><Relationship Id="rId10" Type="http://schemas.openxmlformats.org/officeDocument/2006/relationships/image" Target="../media/image19.png"/><Relationship Id="rId31" Type="http://schemas.openxmlformats.org/officeDocument/2006/relationships/image" Target="../media/image40.png"/><Relationship Id="rId44" Type="http://schemas.openxmlformats.org/officeDocument/2006/relationships/image" Target="../media/image53.png"/><Relationship Id="rId52" Type="http://schemas.openxmlformats.org/officeDocument/2006/relationships/image" Target="../media/image61.png"/><Relationship Id="rId60" Type="http://schemas.openxmlformats.org/officeDocument/2006/relationships/image" Target="../media/image69.png"/><Relationship Id="rId65" Type="http://schemas.openxmlformats.org/officeDocument/2006/relationships/image" Target="../media/image74.png"/><Relationship Id="rId4" Type="http://schemas.openxmlformats.org/officeDocument/2006/relationships/image" Target="../media/image13.png"/><Relationship Id="rId9" Type="http://schemas.openxmlformats.org/officeDocument/2006/relationships/image" Target="../media/image18.png"/><Relationship Id="rId13" Type="http://schemas.openxmlformats.org/officeDocument/2006/relationships/image" Target="../media/image22.png"/><Relationship Id="rId18" Type="http://schemas.openxmlformats.org/officeDocument/2006/relationships/image" Target="../media/image27.png"/><Relationship Id="rId39" Type="http://schemas.openxmlformats.org/officeDocument/2006/relationships/image" Target="../media/image48.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76.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7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slideMaster" Target="../slideMasters/slideMaster1.xml"/><Relationship Id="rId4" Type="http://schemas.openxmlformats.org/officeDocument/2006/relationships/tags" Target="../tags/tag3.xml"/><Relationship Id="rId9" Type="http://schemas.openxmlformats.org/officeDocument/2006/relationships/tags" Target="../tags/tag8.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76.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77.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2.bin"/><Relationship Id="rId5" Type="http://schemas.openxmlformats.org/officeDocument/2006/relationships/tags" Target="../tags/tag12.xml"/><Relationship Id="rId10" Type="http://schemas.openxmlformats.org/officeDocument/2006/relationships/slideMaster" Target="../slideMasters/slideMaster1.xml"/><Relationship Id="rId4" Type="http://schemas.openxmlformats.org/officeDocument/2006/relationships/tags" Target="../tags/tag11.xml"/><Relationship Id="rId9"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6.jpeg"/><Relationship Id="rId5" Type="http://schemas.openxmlformats.org/officeDocument/2006/relationships/image" Target="../media/image5.jpg"/><Relationship Id="rId4" Type="http://schemas.openxmlformats.org/officeDocument/2006/relationships/image" Target="../media/image4.jpg"/><Relationship Id="rId9"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g"/><Relationship Id="rId4" Type="http://schemas.openxmlformats.org/officeDocument/2006/relationships/image" Target="../media/image4.jpg"/><Relationship Id="rId9"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Κενό">
    <p:bg>
      <p:bgPr>
        <a:solidFill>
          <a:schemeClr val="tx1">
            <a:alpha val="65000"/>
          </a:schemeClr>
        </a:solid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xmlns="" id="{19A92C29-B134-9E4D-995D-1DBEF0D19158}"/>
              </a:ext>
            </a:extLst>
          </p:cNvPr>
          <p:cNvSpPr>
            <a:spLocks noGrp="1"/>
          </p:cNvSpPr>
          <p:nvPr>
            <p:ph type="sldNum" sz="quarter" idx="10"/>
          </p:nvPr>
        </p:nvSpPr>
        <p:spPr>
          <a:xfrm>
            <a:off x="9239251" y="6481046"/>
            <a:ext cx="2743200" cy="365125"/>
          </a:xfrm>
        </p:spPr>
        <p:txBody>
          <a:bodyPr/>
          <a:lstStyle>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sp>
        <p:nvSpPr>
          <p:cNvPr id="7" name="Τίτλος 1">
            <a:extLst>
              <a:ext uri="{FF2B5EF4-FFF2-40B4-BE49-F238E27FC236}">
                <a16:creationId xmlns:a16="http://schemas.microsoft.com/office/drawing/2014/main" xmlns="" id="{9C54EACD-86EF-DE43-8A53-0631739CE0A1}"/>
              </a:ext>
            </a:extLst>
          </p:cNvPr>
          <p:cNvSpPr>
            <a:spLocks noGrp="1"/>
          </p:cNvSpPr>
          <p:nvPr>
            <p:ph type="ctrTitle"/>
          </p:nvPr>
        </p:nvSpPr>
        <p:spPr>
          <a:xfrm>
            <a:off x="7184570" y="1122363"/>
            <a:ext cx="4797881" cy="2387600"/>
          </a:xfrm>
        </p:spPr>
        <p:txBody>
          <a:bodyPr anchor="b">
            <a:normAutofit/>
          </a:bodyPr>
          <a:lstStyle>
            <a:lvl1pPr algn="r">
              <a:defRPr sz="4000" b="1">
                <a:solidFill>
                  <a:srgbClr val="FFC000"/>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l-GR" dirty="0"/>
              <a:t>Κάντε κλικ για να επεξεργαστείτε τον τίτλο υποδείγματος</a:t>
            </a:r>
          </a:p>
        </p:txBody>
      </p:sp>
      <p:sp>
        <p:nvSpPr>
          <p:cNvPr id="8" name="Υπότιτλος 2">
            <a:extLst>
              <a:ext uri="{FF2B5EF4-FFF2-40B4-BE49-F238E27FC236}">
                <a16:creationId xmlns:a16="http://schemas.microsoft.com/office/drawing/2014/main" xmlns="" id="{68F0A67E-C314-6242-B626-A0BC6DBA0DCE}"/>
              </a:ext>
            </a:extLst>
          </p:cNvPr>
          <p:cNvSpPr>
            <a:spLocks noGrp="1"/>
          </p:cNvSpPr>
          <p:nvPr>
            <p:ph type="subTitle" idx="1"/>
          </p:nvPr>
        </p:nvSpPr>
        <p:spPr>
          <a:xfrm>
            <a:off x="7184570" y="3690938"/>
            <a:ext cx="4797881" cy="1655762"/>
          </a:xfrm>
        </p:spPr>
        <p:txBody>
          <a:bodyPr anchor="b">
            <a:normAutofit/>
          </a:bodyPr>
          <a:lstStyle>
            <a:lvl1pPr marL="0" indent="0" algn="r">
              <a:buNone/>
              <a:defRPr sz="2000">
                <a:solidFill>
                  <a:srgbClr val="FFC000"/>
                </a:solidFill>
                <a:latin typeface="Helvetica Neue" panose="02000503000000020004" pitchFamily="2" charset="0"/>
                <a:ea typeface="Helvetica Neue" panose="02000503000000020004" pitchFamily="2" charset="0"/>
                <a:cs typeface="Helvetica Neue"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l-GR" dirty="0"/>
              <a:t>Κάντε κλικ για να επεξεργαστείτε τον υπότιτλο του υποδείγματος</a:t>
            </a:r>
          </a:p>
        </p:txBody>
      </p:sp>
      <p:pic>
        <p:nvPicPr>
          <p:cNvPr id="9" name="Picture 4">
            <a:extLst>
              <a:ext uri="{FF2B5EF4-FFF2-40B4-BE49-F238E27FC236}">
                <a16:creationId xmlns:a16="http://schemas.microsoft.com/office/drawing/2014/main" xmlns="" id="{4D6282DA-4E89-6248-9EEE-DE41E0F11D4C}"/>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10478"/>
          <a:stretch/>
        </p:blipFill>
        <p:spPr bwMode="auto">
          <a:xfrm>
            <a:off x="193517" y="1350458"/>
            <a:ext cx="6907230" cy="40314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0980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xmlns=""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xmlns="" id="{7563C78B-A32C-1321-F2ED-025536336068}"/>
              </a:ext>
            </a:extLst>
          </p:cNvPr>
          <p:cNvSpPr txBox="1"/>
          <p:nvPr userDrawn="1"/>
        </p:nvSpPr>
        <p:spPr>
          <a:xfrm>
            <a:off x="15766" y="1109604"/>
            <a:ext cx="1834156" cy="430887"/>
          </a:xfrm>
          <a:prstGeom prst="rect">
            <a:avLst/>
          </a:prstGeom>
          <a:noFill/>
        </p:spPr>
        <p:txBody>
          <a:bodyPr wrap="none" rtlCol="0">
            <a:spAutoFit/>
          </a:bodyPr>
          <a:lstStyle/>
          <a:p>
            <a:pPr algn="ctr"/>
            <a:r>
              <a:rPr lang="el-GR" sz="11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a:p>
            <a:pPr algn="ctr"/>
            <a:r>
              <a:rPr lang="el-GR" sz="11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Κυβέρνηση</a:t>
            </a:r>
          </a:p>
        </p:txBody>
      </p:sp>
      <p:sp>
        <p:nvSpPr>
          <p:cNvPr id="21" name="Title 1">
            <a:extLst>
              <a:ext uri="{FF2B5EF4-FFF2-40B4-BE49-F238E27FC236}">
                <a16:creationId xmlns:a16="http://schemas.microsoft.com/office/drawing/2014/main" xmlns="" id="{78AB1D91-04B5-DA00-3EDA-10C4F89E8457}"/>
              </a:ext>
            </a:extLst>
          </p:cNvPr>
          <p:cNvSpPr>
            <a:spLocks noGrp="1"/>
          </p:cNvSpPr>
          <p:nvPr>
            <p:ph type="title"/>
          </p:nvPr>
        </p:nvSpPr>
        <p:spPr>
          <a:xfrm>
            <a:off x="2017986" y="116890"/>
            <a:ext cx="9926367" cy="1100485"/>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22" name="Content Placeholder 2">
            <a:extLst>
              <a:ext uri="{FF2B5EF4-FFF2-40B4-BE49-F238E27FC236}">
                <a16:creationId xmlns:a16="http://schemas.microsoft.com/office/drawing/2014/main" xmlns="" id="{681EA9CA-2FB3-CFD5-63CE-3D933CA1A51E}"/>
              </a:ext>
            </a:extLst>
          </p:cNvPr>
          <p:cNvSpPr>
            <a:spLocks noGrp="1"/>
          </p:cNvSpPr>
          <p:nvPr>
            <p:ph idx="1"/>
          </p:nvPr>
        </p:nvSpPr>
        <p:spPr>
          <a:xfrm>
            <a:off x="2017986" y="1398896"/>
            <a:ext cx="9926367" cy="4923076"/>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27815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761" y="761"/>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10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bg object 17"/>
          <p:cNvSpPr/>
          <p:nvPr/>
        </p:nvSpPr>
        <p:spPr>
          <a:xfrm>
            <a:off x="762" y="761"/>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ln w="25400">
            <a:solidFill>
              <a:srgbClr val="DDDDD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8" name="bg object 18"/>
          <p:cNvPicPr/>
          <p:nvPr/>
        </p:nvPicPr>
        <p:blipFill>
          <a:blip r:embed="rId2" cstate="print"/>
          <a:stretch>
            <a:fillRect/>
          </a:stretch>
        </p:blipFill>
        <p:spPr>
          <a:xfrm>
            <a:off x="9829800" y="6214871"/>
            <a:ext cx="1988820" cy="413003"/>
          </a:xfrm>
          <a:prstGeom prst="rect">
            <a:avLst/>
          </a:prstGeom>
        </p:spPr>
      </p:pic>
      <p:sp>
        <p:nvSpPr>
          <p:cNvPr id="19" name="bg object 19"/>
          <p:cNvSpPr/>
          <p:nvPr/>
        </p:nvSpPr>
        <p:spPr>
          <a:xfrm>
            <a:off x="505206" y="3429761"/>
            <a:ext cx="11313795" cy="1295400"/>
          </a:xfrm>
          <a:custGeom>
            <a:avLst/>
            <a:gdLst/>
            <a:ahLst/>
            <a:cxnLst/>
            <a:rect l="l" t="t" r="r" b="b"/>
            <a:pathLst>
              <a:path w="11313795" h="1295400">
                <a:moveTo>
                  <a:pt x="0" y="0"/>
                </a:moveTo>
                <a:lnTo>
                  <a:pt x="11313414" y="0"/>
                </a:lnTo>
              </a:path>
              <a:path w="11313795" h="1295400">
                <a:moveTo>
                  <a:pt x="0" y="1295400"/>
                </a:moveTo>
                <a:lnTo>
                  <a:pt x="11313414" y="1295400"/>
                </a:lnTo>
              </a:path>
            </a:pathLst>
          </a:custGeom>
          <a:ln w="3175">
            <a:solidFill>
              <a:srgbClr val="DDDDD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0" name="bg object 20"/>
          <p:cNvPicPr/>
          <p:nvPr/>
        </p:nvPicPr>
        <p:blipFill>
          <a:blip r:embed="rId3" cstate="print"/>
          <a:stretch>
            <a:fillRect/>
          </a:stretch>
        </p:blipFill>
        <p:spPr>
          <a:xfrm>
            <a:off x="2369819" y="2427706"/>
            <a:ext cx="108934" cy="156235"/>
          </a:xfrm>
          <a:prstGeom prst="rect">
            <a:avLst/>
          </a:prstGeom>
        </p:spPr>
      </p:pic>
      <p:pic>
        <p:nvPicPr>
          <p:cNvPr id="21" name="bg object 21"/>
          <p:cNvPicPr/>
          <p:nvPr/>
        </p:nvPicPr>
        <p:blipFill>
          <a:blip r:embed="rId4" cstate="print"/>
          <a:stretch>
            <a:fillRect/>
          </a:stretch>
        </p:blipFill>
        <p:spPr>
          <a:xfrm>
            <a:off x="2383472" y="2403284"/>
            <a:ext cx="108331" cy="155575"/>
          </a:xfrm>
          <a:prstGeom prst="rect">
            <a:avLst/>
          </a:prstGeom>
        </p:spPr>
      </p:pic>
      <p:pic>
        <p:nvPicPr>
          <p:cNvPr id="22" name="bg object 22"/>
          <p:cNvPicPr/>
          <p:nvPr/>
        </p:nvPicPr>
        <p:blipFill>
          <a:blip r:embed="rId5" cstate="print"/>
          <a:stretch>
            <a:fillRect/>
          </a:stretch>
        </p:blipFill>
        <p:spPr>
          <a:xfrm>
            <a:off x="1048512" y="1392936"/>
            <a:ext cx="1285494" cy="1076706"/>
          </a:xfrm>
          <a:prstGeom prst="rect">
            <a:avLst/>
          </a:prstGeom>
        </p:spPr>
      </p:pic>
      <p:sp>
        <p:nvSpPr>
          <p:cNvPr id="23" name="bg object 23"/>
          <p:cNvSpPr/>
          <p:nvPr/>
        </p:nvSpPr>
        <p:spPr>
          <a:xfrm>
            <a:off x="1063751" y="1370075"/>
            <a:ext cx="1282065" cy="1073150"/>
          </a:xfrm>
          <a:custGeom>
            <a:avLst/>
            <a:gdLst/>
            <a:ahLst/>
            <a:cxnLst/>
            <a:rect l="l" t="t" r="r" b="b"/>
            <a:pathLst>
              <a:path w="1282064" h="1073150">
                <a:moveTo>
                  <a:pt x="775264" y="1007872"/>
                </a:moveTo>
                <a:lnTo>
                  <a:pt x="535813" y="1007872"/>
                </a:lnTo>
                <a:lnTo>
                  <a:pt x="613155" y="1034923"/>
                </a:lnTo>
                <a:lnTo>
                  <a:pt x="640841" y="1034923"/>
                </a:lnTo>
                <a:lnTo>
                  <a:pt x="640841" y="1045845"/>
                </a:lnTo>
                <a:lnTo>
                  <a:pt x="668400" y="1062101"/>
                </a:lnTo>
                <a:lnTo>
                  <a:pt x="718185" y="1072896"/>
                </a:lnTo>
                <a:lnTo>
                  <a:pt x="784479" y="1062101"/>
                </a:lnTo>
                <a:lnTo>
                  <a:pt x="775264" y="1007872"/>
                </a:lnTo>
                <a:close/>
              </a:path>
              <a:path w="1282064" h="1073150">
                <a:moveTo>
                  <a:pt x="160210" y="276351"/>
                </a:moveTo>
                <a:lnTo>
                  <a:pt x="0" y="319659"/>
                </a:lnTo>
                <a:lnTo>
                  <a:pt x="38671" y="357632"/>
                </a:lnTo>
                <a:lnTo>
                  <a:pt x="0" y="379349"/>
                </a:lnTo>
                <a:lnTo>
                  <a:pt x="182308" y="444373"/>
                </a:lnTo>
                <a:lnTo>
                  <a:pt x="276225" y="509397"/>
                </a:lnTo>
                <a:lnTo>
                  <a:pt x="287273" y="574421"/>
                </a:lnTo>
                <a:lnTo>
                  <a:pt x="364616" y="623188"/>
                </a:lnTo>
                <a:lnTo>
                  <a:pt x="325881" y="921131"/>
                </a:lnTo>
                <a:lnTo>
                  <a:pt x="287273" y="942848"/>
                </a:lnTo>
                <a:lnTo>
                  <a:pt x="342519" y="980821"/>
                </a:lnTo>
                <a:lnTo>
                  <a:pt x="469519" y="1018666"/>
                </a:lnTo>
                <a:lnTo>
                  <a:pt x="535813" y="1007872"/>
                </a:lnTo>
                <a:lnTo>
                  <a:pt x="775264" y="1007872"/>
                </a:lnTo>
                <a:lnTo>
                  <a:pt x="773429" y="997076"/>
                </a:lnTo>
                <a:lnTo>
                  <a:pt x="861822" y="932052"/>
                </a:lnTo>
                <a:lnTo>
                  <a:pt x="1156893" y="932052"/>
                </a:lnTo>
                <a:lnTo>
                  <a:pt x="1204341" y="904875"/>
                </a:lnTo>
                <a:lnTo>
                  <a:pt x="1215390" y="904875"/>
                </a:lnTo>
                <a:lnTo>
                  <a:pt x="1215390" y="894079"/>
                </a:lnTo>
                <a:lnTo>
                  <a:pt x="1226439" y="856107"/>
                </a:lnTo>
                <a:lnTo>
                  <a:pt x="1165605" y="839851"/>
                </a:lnTo>
                <a:lnTo>
                  <a:pt x="1165605" y="780288"/>
                </a:lnTo>
                <a:lnTo>
                  <a:pt x="1126998" y="742314"/>
                </a:lnTo>
                <a:lnTo>
                  <a:pt x="1176655" y="699008"/>
                </a:lnTo>
                <a:lnTo>
                  <a:pt x="1165605" y="639445"/>
                </a:lnTo>
                <a:lnTo>
                  <a:pt x="1149096" y="612266"/>
                </a:lnTo>
                <a:lnTo>
                  <a:pt x="1149096" y="601472"/>
                </a:lnTo>
                <a:lnTo>
                  <a:pt x="1082802" y="601472"/>
                </a:lnTo>
                <a:lnTo>
                  <a:pt x="1071753" y="558164"/>
                </a:lnTo>
                <a:lnTo>
                  <a:pt x="1176655" y="471424"/>
                </a:lnTo>
                <a:lnTo>
                  <a:pt x="1226439" y="433450"/>
                </a:lnTo>
                <a:lnTo>
                  <a:pt x="1226439" y="368426"/>
                </a:lnTo>
                <a:lnTo>
                  <a:pt x="1246763" y="330581"/>
                </a:lnTo>
                <a:lnTo>
                  <a:pt x="209931" y="330581"/>
                </a:lnTo>
                <a:lnTo>
                  <a:pt x="160210" y="276351"/>
                </a:lnTo>
                <a:close/>
              </a:path>
              <a:path w="1282064" h="1073150">
                <a:moveTo>
                  <a:pt x="1156893" y="932052"/>
                </a:moveTo>
                <a:lnTo>
                  <a:pt x="861822" y="932052"/>
                </a:lnTo>
                <a:lnTo>
                  <a:pt x="1071753" y="980821"/>
                </a:lnTo>
                <a:lnTo>
                  <a:pt x="1156893" y="932052"/>
                </a:lnTo>
                <a:close/>
              </a:path>
              <a:path w="1282064" h="1073150">
                <a:moveTo>
                  <a:pt x="1149096" y="585215"/>
                </a:moveTo>
                <a:lnTo>
                  <a:pt x="1099311" y="585215"/>
                </a:lnTo>
                <a:lnTo>
                  <a:pt x="1082802" y="601472"/>
                </a:lnTo>
                <a:lnTo>
                  <a:pt x="1149096" y="601472"/>
                </a:lnTo>
                <a:lnTo>
                  <a:pt x="1149096" y="585215"/>
                </a:lnTo>
                <a:close/>
              </a:path>
              <a:path w="1282064" h="1073150">
                <a:moveTo>
                  <a:pt x="342519" y="178815"/>
                </a:moveTo>
                <a:lnTo>
                  <a:pt x="276225" y="178815"/>
                </a:lnTo>
                <a:lnTo>
                  <a:pt x="325881" y="303402"/>
                </a:lnTo>
                <a:lnTo>
                  <a:pt x="209931" y="330581"/>
                </a:lnTo>
                <a:lnTo>
                  <a:pt x="1246763" y="330581"/>
                </a:lnTo>
                <a:lnTo>
                  <a:pt x="1281684" y="265557"/>
                </a:lnTo>
                <a:lnTo>
                  <a:pt x="1149096" y="238378"/>
                </a:lnTo>
                <a:lnTo>
                  <a:pt x="1134895" y="227584"/>
                </a:lnTo>
                <a:lnTo>
                  <a:pt x="447420" y="227584"/>
                </a:lnTo>
                <a:lnTo>
                  <a:pt x="353567" y="216788"/>
                </a:lnTo>
                <a:lnTo>
                  <a:pt x="342519" y="178815"/>
                </a:lnTo>
                <a:close/>
              </a:path>
              <a:path w="1282064" h="1073150">
                <a:moveTo>
                  <a:pt x="718185" y="0"/>
                </a:moveTo>
                <a:lnTo>
                  <a:pt x="629792" y="21716"/>
                </a:lnTo>
                <a:lnTo>
                  <a:pt x="629792" y="113791"/>
                </a:lnTo>
                <a:lnTo>
                  <a:pt x="591058" y="140843"/>
                </a:lnTo>
                <a:lnTo>
                  <a:pt x="486156" y="178815"/>
                </a:lnTo>
                <a:lnTo>
                  <a:pt x="447420" y="227584"/>
                </a:lnTo>
                <a:lnTo>
                  <a:pt x="1134895" y="227584"/>
                </a:lnTo>
                <a:lnTo>
                  <a:pt x="1099311" y="200533"/>
                </a:lnTo>
                <a:lnTo>
                  <a:pt x="1021968" y="200533"/>
                </a:lnTo>
                <a:lnTo>
                  <a:pt x="939165" y="140843"/>
                </a:lnTo>
                <a:lnTo>
                  <a:pt x="878331" y="140843"/>
                </a:lnTo>
                <a:lnTo>
                  <a:pt x="889380" y="97536"/>
                </a:lnTo>
                <a:lnTo>
                  <a:pt x="839723" y="97536"/>
                </a:lnTo>
                <a:lnTo>
                  <a:pt x="718185"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bg object 24"/>
          <p:cNvSpPr/>
          <p:nvPr/>
        </p:nvSpPr>
        <p:spPr>
          <a:xfrm>
            <a:off x="1063751" y="1370075"/>
            <a:ext cx="1282065" cy="1073150"/>
          </a:xfrm>
          <a:custGeom>
            <a:avLst/>
            <a:gdLst/>
            <a:ahLst/>
            <a:cxnLst/>
            <a:rect l="l" t="t" r="r" b="b"/>
            <a:pathLst>
              <a:path w="1282064" h="1073150">
                <a:moveTo>
                  <a:pt x="1215390" y="894079"/>
                </a:moveTo>
                <a:lnTo>
                  <a:pt x="1215390" y="904875"/>
                </a:lnTo>
                <a:lnTo>
                  <a:pt x="1204341" y="904875"/>
                </a:lnTo>
                <a:lnTo>
                  <a:pt x="1071753" y="980821"/>
                </a:lnTo>
                <a:lnTo>
                  <a:pt x="861822" y="932052"/>
                </a:lnTo>
                <a:lnTo>
                  <a:pt x="773429" y="997076"/>
                </a:lnTo>
                <a:lnTo>
                  <a:pt x="784479" y="1062101"/>
                </a:lnTo>
                <a:lnTo>
                  <a:pt x="718185" y="1072896"/>
                </a:lnTo>
                <a:lnTo>
                  <a:pt x="668400" y="1062101"/>
                </a:lnTo>
                <a:lnTo>
                  <a:pt x="640841" y="1045845"/>
                </a:lnTo>
                <a:lnTo>
                  <a:pt x="640841" y="1034923"/>
                </a:lnTo>
                <a:lnTo>
                  <a:pt x="613155" y="1034923"/>
                </a:lnTo>
                <a:lnTo>
                  <a:pt x="535813" y="1007872"/>
                </a:lnTo>
                <a:lnTo>
                  <a:pt x="469519" y="1018666"/>
                </a:lnTo>
                <a:lnTo>
                  <a:pt x="342519" y="980821"/>
                </a:lnTo>
                <a:lnTo>
                  <a:pt x="287273" y="942848"/>
                </a:lnTo>
                <a:lnTo>
                  <a:pt x="325881" y="921131"/>
                </a:lnTo>
                <a:lnTo>
                  <a:pt x="364616" y="623188"/>
                </a:lnTo>
                <a:lnTo>
                  <a:pt x="287273" y="574421"/>
                </a:lnTo>
                <a:lnTo>
                  <a:pt x="276225" y="509397"/>
                </a:lnTo>
                <a:lnTo>
                  <a:pt x="182308" y="444373"/>
                </a:lnTo>
                <a:lnTo>
                  <a:pt x="0" y="379349"/>
                </a:lnTo>
                <a:lnTo>
                  <a:pt x="38671" y="357632"/>
                </a:lnTo>
                <a:lnTo>
                  <a:pt x="0" y="319659"/>
                </a:lnTo>
                <a:lnTo>
                  <a:pt x="160210" y="276351"/>
                </a:lnTo>
                <a:lnTo>
                  <a:pt x="209931" y="330581"/>
                </a:lnTo>
                <a:lnTo>
                  <a:pt x="325881" y="303402"/>
                </a:lnTo>
                <a:lnTo>
                  <a:pt x="276225" y="178815"/>
                </a:lnTo>
                <a:lnTo>
                  <a:pt x="342519" y="178815"/>
                </a:lnTo>
                <a:lnTo>
                  <a:pt x="353567" y="216788"/>
                </a:lnTo>
                <a:lnTo>
                  <a:pt x="447420" y="227584"/>
                </a:lnTo>
                <a:lnTo>
                  <a:pt x="486156" y="178815"/>
                </a:lnTo>
                <a:lnTo>
                  <a:pt x="591058" y="140843"/>
                </a:lnTo>
                <a:lnTo>
                  <a:pt x="629792" y="113791"/>
                </a:lnTo>
                <a:lnTo>
                  <a:pt x="629792" y="21716"/>
                </a:lnTo>
                <a:lnTo>
                  <a:pt x="718185" y="0"/>
                </a:lnTo>
                <a:lnTo>
                  <a:pt x="839723" y="97536"/>
                </a:lnTo>
                <a:lnTo>
                  <a:pt x="889380" y="97536"/>
                </a:lnTo>
                <a:lnTo>
                  <a:pt x="878331" y="140843"/>
                </a:lnTo>
                <a:lnTo>
                  <a:pt x="939165" y="140843"/>
                </a:lnTo>
                <a:lnTo>
                  <a:pt x="1021968" y="200533"/>
                </a:lnTo>
                <a:lnTo>
                  <a:pt x="1044066" y="200533"/>
                </a:lnTo>
                <a:lnTo>
                  <a:pt x="1060704" y="200533"/>
                </a:lnTo>
                <a:lnTo>
                  <a:pt x="1099311" y="200533"/>
                </a:lnTo>
                <a:lnTo>
                  <a:pt x="1149096" y="238378"/>
                </a:lnTo>
                <a:lnTo>
                  <a:pt x="1281684" y="265557"/>
                </a:lnTo>
                <a:lnTo>
                  <a:pt x="1226439" y="368426"/>
                </a:lnTo>
                <a:lnTo>
                  <a:pt x="1226439" y="433450"/>
                </a:lnTo>
                <a:lnTo>
                  <a:pt x="1176655" y="471424"/>
                </a:lnTo>
                <a:lnTo>
                  <a:pt x="1071753" y="558164"/>
                </a:lnTo>
                <a:lnTo>
                  <a:pt x="1082802" y="601472"/>
                </a:lnTo>
                <a:lnTo>
                  <a:pt x="1099311" y="585215"/>
                </a:lnTo>
                <a:lnTo>
                  <a:pt x="1149096" y="585215"/>
                </a:lnTo>
                <a:lnTo>
                  <a:pt x="1149096" y="612266"/>
                </a:lnTo>
                <a:lnTo>
                  <a:pt x="1165605" y="639445"/>
                </a:lnTo>
                <a:lnTo>
                  <a:pt x="1176655" y="699008"/>
                </a:lnTo>
                <a:lnTo>
                  <a:pt x="1126998" y="742314"/>
                </a:lnTo>
                <a:lnTo>
                  <a:pt x="1165605" y="780288"/>
                </a:lnTo>
                <a:lnTo>
                  <a:pt x="1165605" y="839851"/>
                </a:lnTo>
                <a:lnTo>
                  <a:pt x="1226439" y="856107"/>
                </a:lnTo>
                <a:lnTo>
                  <a:pt x="1215390" y="894079"/>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5" name="bg object 25"/>
          <p:cNvPicPr/>
          <p:nvPr/>
        </p:nvPicPr>
        <p:blipFill>
          <a:blip r:embed="rId6" cstate="print"/>
          <a:stretch>
            <a:fillRect/>
          </a:stretch>
        </p:blipFill>
        <p:spPr>
          <a:xfrm>
            <a:off x="1755647" y="2721822"/>
            <a:ext cx="147091" cy="78527"/>
          </a:xfrm>
          <a:prstGeom prst="rect">
            <a:avLst/>
          </a:prstGeom>
        </p:spPr>
      </p:pic>
      <p:pic>
        <p:nvPicPr>
          <p:cNvPr id="26" name="bg object 26"/>
          <p:cNvPicPr/>
          <p:nvPr/>
        </p:nvPicPr>
        <p:blipFill>
          <a:blip r:embed="rId7" cstate="print"/>
          <a:stretch>
            <a:fillRect/>
          </a:stretch>
        </p:blipFill>
        <p:spPr>
          <a:xfrm>
            <a:off x="1769300" y="2697416"/>
            <a:ext cx="146431" cy="77850"/>
          </a:xfrm>
          <a:prstGeom prst="rect">
            <a:avLst/>
          </a:prstGeom>
        </p:spPr>
      </p:pic>
      <p:sp>
        <p:nvSpPr>
          <p:cNvPr id="27" name="bg object 27"/>
          <p:cNvSpPr/>
          <p:nvPr/>
        </p:nvSpPr>
        <p:spPr>
          <a:xfrm>
            <a:off x="1234439" y="3235451"/>
            <a:ext cx="10795" cy="0"/>
          </a:xfrm>
          <a:custGeom>
            <a:avLst/>
            <a:gdLst/>
            <a:ahLst/>
            <a:cxnLst/>
            <a:rect l="l" t="t" r="r" b="b"/>
            <a:pathLst>
              <a:path w="10794">
                <a:moveTo>
                  <a:pt x="10668" y="0"/>
                </a:moveTo>
                <a:lnTo>
                  <a:pt x="0" y="0"/>
                </a:lnTo>
                <a:lnTo>
                  <a:pt x="10668"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8" name="bg object 28"/>
          <p:cNvPicPr/>
          <p:nvPr/>
        </p:nvPicPr>
        <p:blipFill>
          <a:blip r:embed="rId8" cstate="print"/>
          <a:stretch>
            <a:fillRect/>
          </a:stretch>
        </p:blipFill>
        <p:spPr>
          <a:xfrm>
            <a:off x="987551" y="3198812"/>
            <a:ext cx="14668" cy="14668"/>
          </a:xfrm>
          <a:prstGeom prst="rect">
            <a:avLst/>
          </a:prstGeom>
        </p:spPr>
      </p:pic>
      <p:sp>
        <p:nvSpPr>
          <p:cNvPr id="29" name="bg object 29"/>
          <p:cNvSpPr/>
          <p:nvPr/>
        </p:nvSpPr>
        <p:spPr>
          <a:xfrm>
            <a:off x="1002792" y="3176016"/>
            <a:ext cx="10795" cy="10795"/>
          </a:xfrm>
          <a:custGeom>
            <a:avLst/>
            <a:gdLst/>
            <a:ahLst/>
            <a:cxnLst/>
            <a:rect l="l" t="t" r="r" b="b"/>
            <a:pathLst>
              <a:path w="10794" h="10794">
                <a:moveTo>
                  <a:pt x="10668" y="0"/>
                </a:moveTo>
                <a:lnTo>
                  <a:pt x="0" y="0"/>
                </a:lnTo>
                <a:lnTo>
                  <a:pt x="0" y="10668"/>
                </a:lnTo>
                <a:lnTo>
                  <a:pt x="10668"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bg object 30"/>
          <p:cNvSpPr/>
          <p:nvPr/>
        </p:nvSpPr>
        <p:spPr>
          <a:xfrm>
            <a:off x="1002792" y="3176016"/>
            <a:ext cx="10795" cy="10795"/>
          </a:xfrm>
          <a:custGeom>
            <a:avLst/>
            <a:gdLst/>
            <a:ahLst/>
            <a:cxnLst/>
            <a:rect l="l" t="t" r="r" b="b"/>
            <a:pathLst>
              <a:path w="10794" h="10794">
                <a:moveTo>
                  <a:pt x="0" y="0"/>
                </a:moveTo>
                <a:lnTo>
                  <a:pt x="10668" y="0"/>
                </a:lnTo>
                <a:lnTo>
                  <a:pt x="0" y="10668"/>
                </a:lnTo>
                <a:lnTo>
                  <a:pt x="0"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1" name="bg object 31"/>
          <p:cNvPicPr/>
          <p:nvPr/>
        </p:nvPicPr>
        <p:blipFill>
          <a:blip r:embed="rId9" cstate="print"/>
          <a:stretch>
            <a:fillRect/>
          </a:stretch>
        </p:blipFill>
        <p:spPr>
          <a:xfrm>
            <a:off x="605028" y="2298192"/>
            <a:ext cx="1232154" cy="877062"/>
          </a:xfrm>
          <a:prstGeom prst="rect">
            <a:avLst/>
          </a:prstGeom>
        </p:spPr>
      </p:pic>
      <p:sp>
        <p:nvSpPr>
          <p:cNvPr id="32" name="bg object 32"/>
          <p:cNvSpPr/>
          <p:nvPr/>
        </p:nvSpPr>
        <p:spPr>
          <a:xfrm>
            <a:off x="620267" y="2275332"/>
            <a:ext cx="1228725" cy="873760"/>
          </a:xfrm>
          <a:custGeom>
            <a:avLst/>
            <a:gdLst/>
            <a:ahLst/>
            <a:cxnLst/>
            <a:rect l="l" t="t" r="r" b="b"/>
            <a:pathLst>
              <a:path w="1228725" h="873760">
                <a:moveTo>
                  <a:pt x="1228344" y="206120"/>
                </a:moveTo>
                <a:lnTo>
                  <a:pt x="260057" y="206120"/>
                </a:lnTo>
                <a:lnTo>
                  <a:pt x="298780" y="254888"/>
                </a:lnTo>
                <a:lnTo>
                  <a:pt x="221322" y="320039"/>
                </a:lnTo>
                <a:lnTo>
                  <a:pt x="237921" y="395985"/>
                </a:lnTo>
                <a:lnTo>
                  <a:pt x="210261" y="477265"/>
                </a:lnTo>
                <a:lnTo>
                  <a:pt x="154927" y="477265"/>
                </a:lnTo>
                <a:lnTo>
                  <a:pt x="221322" y="553212"/>
                </a:lnTo>
                <a:lnTo>
                  <a:pt x="182587" y="618363"/>
                </a:lnTo>
                <a:lnTo>
                  <a:pt x="210261" y="656335"/>
                </a:lnTo>
                <a:lnTo>
                  <a:pt x="171526" y="705103"/>
                </a:lnTo>
                <a:lnTo>
                  <a:pt x="182587" y="759332"/>
                </a:lnTo>
                <a:lnTo>
                  <a:pt x="260057" y="781050"/>
                </a:lnTo>
                <a:lnTo>
                  <a:pt x="298780" y="856995"/>
                </a:lnTo>
                <a:lnTo>
                  <a:pt x="381787" y="873251"/>
                </a:lnTo>
                <a:lnTo>
                  <a:pt x="470306" y="808227"/>
                </a:lnTo>
                <a:lnTo>
                  <a:pt x="708279" y="797305"/>
                </a:lnTo>
                <a:lnTo>
                  <a:pt x="747013" y="732281"/>
                </a:lnTo>
                <a:lnTo>
                  <a:pt x="835532" y="705103"/>
                </a:lnTo>
                <a:lnTo>
                  <a:pt x="863219" y="629157"/>
                </a:lnTo>
                <a:lnTo>
                  <a:pt x="940562" y="580389"/>
                </a:lnTo>
                <a:lnTo>
                  <a:pt x="890778" y="488188"/>
                </a:lnTo>
                <a:lnTo>
                  <a:pt x="1018032" y="320039"/>
                </a:lnTo>
                <a:lnTo>
                  <a:pt x="1123188" y="298322"/>
                </a:lnTo>
                <a:lnTo>
                  <a:pt x="1228344" y="206120"/>
                </a:lnTo>
                <a:close/>
              </a:path>
              <a:path w="1228725" h="873760">
                <a:moveTo>
                  <a:pt x="1228344" y="195198"/>
                </a:moveTo>
                <a:lnTo>
                  <a:pt x="94056" y="195198"/>
                </a:lnTo>
                <a:lnTo>
                  <a:pt x="105130" y="216915"/>
                </a:lnTo>
                <a:lnTo>
                  <a:pt x="260057" y="206120"/>
                </a:lnTo>
                <a:lnTo>
                  <a:pt x="1228344" y="206120"/>
                </a:lnTo>
                <a:lnTo>
                  <a:pt x="1228344" y="195198"/>
                </a:lnTo>
                <a:close/>
              </a:path>
              <a:path w="1228725" h="873760">
                <a:moveTo>
                  <a:pt x="132791" y="0"/>
                </a:moveTo>
                <a:lnTo>
                  <a:pt x="77457" y="37972"/>
                </a:lnTo>
                <a:lnTo>
                  <a:pt x="0" y="65023"/>
                </a:lnTo>
                <a:lnTo>
                  <a:pt x="38734" y="113918"/>
                </a:lnTo>
                <a:lnTo>
                  <a:pt x="38734" y="206120"/>
                </a:lnTo>
                <a:lnTo>
                  <a:pt x="94056" y="195198"/>
                </a:lnTo>
                <a:lnTo>
                  <a:pt x="1228344" y="195198"/>
                </a:lnTo>
                <a:lnTo>
                  <a:pt x="1228344" y="168147"/>
                </a:lnTo>
                <a:lnTo>
                  <a:pt x="1161923" y="168147"/>
                </a:lnTo>
                <a:lnTo>
                  <a:pt x="1112139" y="157352"/>
                </a:lnTo>
                <a:lnTo>
                  <a:pt x="1073404" y="157352"/>
                </a:lnTo>
                <a:lnTo>
                  <a:pt x="1056767" y="130175"/>
                </a:lnTo>
                <a:lnTo>
                  <a:pt x="1010429" y="113918"/>
                </a:lnTo>
                <a:lnTo>
                  <a:pt x="913003" y="113918"/>
                </a:lnTo>
                <a:lnTo>
                  <a:pt x="785748" y="75945"/>
                </a:lnTo>
                <a:lnTo>
                  <a:pt x="730376" y="37972"/>
                </a:lnTo>
                <a:lnTo>
                  <a:pt x="497979" y="37972"/>
                </a:lnTo>
                <a:lnTo>
                  <a:pt x="381787" y="16255"/>
                </a:lnTo>
                <a:lnTo>
                  <a:pt x="182587" y="16255"/>
                </a:lnTo>
                <a:lnTo>
                  <a:pt x="132791" y="0"/>
                </a:lnTo>
                <a:close/>
              </a:path>
              <a:path w="1228725" h="873760">
                <a:moveTo>
                  <a:pt x="1228344" y="157352"/>
                </a:moveTo>
                <a:lnTo>
                  <a:pt x="1161923" y="168147"/>
                </a:lnTo>
                <a:lnTo>
                  <a:pt x="1228344" y="168147"/>
                </a:lnTo>
                <a:lnTo>
                  <a:pt x="1228344" y="157352"/>
                </a:lnTo>
                <a:close/>
              </a:path>
              <a:path w="1228725" h="873760">
                <a:moveTo>
                  <a:pt x="1084452" y="140969"/>
                </a:moveTo>
                <a:lnTo>
                  <a:pt x="1073404" y="157352"/>
                </a:lnTo>
                <a:lnTo>
                  <a:pt x="1112139" y="157352"/>
                </a:lnTo>
                <a:lnTo>
                  <a:pt x="1084452" y="140969"/>
                </a:lnTo>
                <a:close/>
              </a:path>
              <a:path w="1228725" h="873760">
                <a:moveTo>
                  <a:pt x="979297" y="102996"/>
                </a:moveTo>
                <a:lnTo>
                  <a:pt x="913003" y="113918"/>
                </a:lnTo>
                <a:lnTo>
                  <a:pt x="1010429" y="113918"/>
                </a:lnTo>
                <a:lnTo>
                  <a:pt x="979297" y="102996"/>
                </a:lnTo>
                <a:close/>
              </a:path>
              <a:path w="1228725" h="873760">
                <a:moveTo>
                  <a:pt x="564375" y="27177"/>
                </a:moveTo>
                <a:lnTo>
                  <a:pt x="497979" y="37972"/>
                </a:lnTo>
                <a:lnTo>
                  <a:pt x="730376" y="37972"/>
                </a:lnTo>
                <a:lnTo>
                  <a:pt x="564375" y="27177"/>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bg object 33"/>
          <p:cNvSpPr/>
          <p:nvPr/>
        </p:nvSpPr>
        <p:spPr>
          <a:xfrm>
            <a:off x="620267" y="2275332"/>
            <a:ext cx="1228725" cy="873760"/>
          </a:xfrm>
          <a:custGeom>
            <a:avLst/>
            <a:gdLst/>
            <a:ahLst/>
            <a:cxnLst/>
            <a:rect l="l" t="t" r="r" b="b"/>
            <a:pathLst>
              <a:path w="1228725" h="873760">
                <a:moveTo>
                  <a:pt x="381787" y="873251"/>
                </a:moveTo>
                <a:lnTo>
                  <a:pt x="298780" y="856995"/>
                </a:lnTo>
                <a:lnTo>
                  <a:pt x="260057" y="781050"/>
                </a:lnTo>
                <a:lnTo>
                  <a:pt x="182587" y="759332"/>
                </a:lnTo>
                <a:lnTo>
                  <a:pt x="171526" y="705103"/>
                </a:lnTo>
                <a:lnTo>
                  <a:pt x="210261" y="656335"/>
                </a:lnTo>
                <a:lnTo>
                  <a:pt x="182587" y="618363"/>
                </a:lnTo>
                <a:lnTo>
                  <a:pt x="221322" y="553212"/>
                </a:lnTo>
                <a:lnTo>
                  <a:pt x="154927" y="477265"/>
                </a:lnTo>
                <a:lnTo>
                  <a:pt x="210261" y="477265"/>
                </a:lnTo>
                <a:lnTo>
                  <a:pt x="237921" y="395985"/>
                </a:lnTo>
                <a:lnTo>
                  <a:pt x="221322" y="320039"/>
                </a:lnTo>
                <a:lnTo>
                  <a:pt x="298780" y="254888"/>
                </a:lnTo>
                <a:lnTo>
                  <a:pt x="260057" y="206120"/>
                </a:lnTo>
                <a:lnTo>
                  <a:pt x="105130" y="216915"/>
                </a:lnTo>
                <a:lnTo>
                  <a:pt x="94056" y="195198"/>
                </a:lnTo>
                <a:lnTo>
                  <a:pt x="38734" y="206120"/>
                </a:lnTo>
                <a:lnTo>
                  <a:pt x="38734" y="113918"/>
                </a:lnTo>
                <a:lnTo>
                  <a:pt x="0" y="65023"/>
                </a:lnTo>
                <a:lnTo>
                  <a:pt x="77457" y="37972"/>
                </a:lnTo>
                <a:lnTo>
                  <a:pt x="132791" y="0"/>
                </a:lnTo>
                <a:lnTo>
                  <a:pt x="182587" y="16255"/>
                </a:lnTo>
                <a:lnTo>
                  <a:pt x="381787" y="16255"/>
                </a:lnTo>
                <a:lnTo>
                  <a:pt x="497979" y="37972"/>
                </a:lnTo>
                <a:lnTo>
                  <a:pt x="564375" y="27177"/>
                </a:lnTo>
                <a:lnTo>
                  <a:pt x="730376" y="37972"/>
                </a:lnTo>
                <a:lnTo>
                  <a:pt x="785748" y="75945"/>
                </a:lnTo>
                <a:lnTo>
                  <a:pt x="913003" y="113918"/>
                </a:lnTo>
                <a:lnTo>
                  <a:pt x="979297" y="102996"/>
                </a:lnTo>
                <a:lnTo>
                  <a:pt x="1056767" y="130175"/>
                </a:lnTo>
                <a:lnTo>
                  <a:pt x="1073404" y="157352"/>
                </a:lnTo>
                <a:lnTo>
                  <a:pt x="1084452" y="140969"/>
                </a:lnTo>
                <a:lnTo>
                  <a:pt x="1112139" y="157352"/>
                </a:lnTo>
                <a:lnTo>
                  <a:pt x="1112139" y="140969"/>
                </a:lnTo>
                <a:lnTo>
                  <a:pt x="1112139" y="157352"/>
                </a:lnTo>
                <a:lnTo>
                  <a:pt x="1161923" y="168147"/>
                </a:lnTo>
                <a:lnTo>
                  <a:pt x="1228344" y="157352"/>
                </a:lnTo>
                <a:lnTo>
                  <a:pt x="1228344" y="206120"/>
                </a:lnTo>
                <a:lnTo>
                  <a:pt x="1123188" y="298322"/>
                </a:lnTo>
                <a:lnTo>
                  <a:pt x="1018032" y="320039"/>
                </a:lnTo>
                <a:lnTo>
                  <a:pt x="890778" y="488188"/>
                </a:lnTo>
                <a:lnTo>
                  <a:pt x="940562" y="580389"/>
                </a:lnTo>
                <a:lnTo>
                  <a:pt x="863219" y="629157"/>
                </a:lnTo>
                <a:lnTo>
                  <a:pt x="835532" y="705103"/>
                </a:lnTo>
                <a:lnTo>
                  <a:pt x="747013" y="732281"/>
                </a:lnTo>
                <a:lnTo>
                  <a:pt x="708279" y="797305"/>
                </a:lnTo>
                <a:lnTo>
                  <a:pt x="470306" y="808227"/>
                </a:lnTo>
                <a:lnTo>
                  <a:pt x="381787" y="87325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4" name="bg object 34"/>
          <p:cNvPicPr/>
          <p:nvPr/>
        </p:nvPicPr>
        <p:blipFill>
          <a:blip r:embed="rId10" cstate="print"/>
          <a:stretch>
            <a:fillRect/>
          </a:stretch>
        </p:blipFill>
        <p:spPr>
          <a:xfrm>
            <a:off x="1181100" y="288036"/>
            <a:ext cx="42671" cy="57150"/>
          </a:xfrm>
          <a:prstGeom prst="rect">
            <a:avLst/>
          </a:prstGeom>
        </p:spPr>
      </p:pic>
      <p:pic>
        <p:nvPicPr>
          <p:cNvPr id="35" name="bg object 35"/>
          <p:cNvPicPr/>
          <p:nvPr/>
        </p:nvPicPr>
        <p:blipFill>
          <a:blip r:embed="rId11" cstate="print"/>
          <a:stretch>
            <a:fillRect/>
          </a:stretch>
        </p:blipFill>
        <p:spPr>
          <a:xfrm>
            <a:off x="1194752" y="263588"/>
            <a:ext cx="66357" cy="56515"/>
          </a:xfrm>
          <a:prstGeom prst="rect">
            <a:avLst/>
          </a:prstGeom>
        </p:spPr>
      </p:pic>
      <p:sp>
        <p:nvSpPr>
          <p:cNvPr id="36" name="bg object 36"/>
          <p:cNvSpPr/>
          <p:nvPr/>
        </p:nvSpPr>
        <p:spPr>
          <a:xfrm>
            <a:off x="1223772" y="242316"/>
            <a:ext cx="48895" cy="22860"/>
          </a:xfrm>
          <a:custGeom>
            <a:avLst/>
            <a:gdLst/>
            <a:ahLst/>
            <a:cxnLst/>
            <a:rect l="l" t="t" r="r" b="b"/>
            <a:pathLst>
              <a:path w="48894" h="22860">
                <a:moveTo>
                  <a:pt x="0" y="0"/>
                </a:moveTo>
                <a:lnTo>
                  <a:pt x="21678" y="22859"/>
                </a:lnTo>
                <a:lnTo>
                  <a:pt x="48768" y="22859"/>
                </a:lnTo>
                <a:lnTo>
                  <a:pt x="0"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bg object 37"/>
          <p:cNvSpPr/>
          <p:nvPr/>
        </p:nvSpPr>
        <p:spPr>
          <a:xfrm>
            <a:off x="1223772" y="242316"/>
            <a:ext cx="48895" cy="22860"/>
          </a:xfrm>
          <a:custGeom>
            <a:avLst/>
            <a:gdLst/>
            <a:ahLst/>
            <a:cxnLst/>
            <a:rect l="l" t="t" r="r" b="b"/>
            <a:pathLst>
              <a:path w="48894" h="22860">
                <a:moveTo>
                  <a:pt x="21678" y="22859"/>
                </a:moveTo>
                <a:lnTo>
                  <a:pt x="0" y="0"/>
                </a:lnTo>
                <a:lnTo>
                  <a:pt x="48768" y="22859"/>
                </a:lnTo>
                <a:lnTo>
                  <a:pt x="37934" y="22859"/>
                </a:lnTo>
                <a:lnTo>
                  <a:pt x="21678" y="22859"/>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8" name="bg object 38"/>
          <p:cNvPicPr/>
          <p:nvPr/>
        </p:nvPicPr>
        <p:blipFill>
          <a:blip r:embed="rId12" cstate="print"/>
          <a:stretch>
            <a:fillRect/>
          </a:stretch>
        </p:blipFill>
        <p:spPr>
          <a:xfrm>
            <a:off x="842772" y="493776"/>
            <a:ext cx="119661" cy="116586"/>
          </a:xfrm>
          <a:prstGeom prst="rect">
            <a:avLst/>
          </a:prstGeom>
        </p:spPr>
      </p:pic>
      <p:sp>
        <p:nvSpPr>
          <p:cNvPr id="39" name="bg object 39"/>
          <p:cNvSpPr/>
          <p:nvPr/>
        </p:nvSpPr>
        <p:spPr>
          <a:xfrm>
            <a:off x="858012" y="470915"/>
            <a:ext cx="116205" cy="113030"/>
          </a:xfrm>
          <a:custGeom>
            <a:avLst/>
            <a:gdLst/>
            <a:ahLst/>
            <a:cxnLst/>
            <a:rect l="l" t="t" r="r" b="b"/>
            <a:pathLst>
              <a:path w="116205" h="113029">
                <a:moveTo>
                  <a:pt x="49644" y="0"/>
                </a:moveTo>
                <a:lnTo>
                  <a:pt x="0" y="37592"/>
                </a:lnTo>
                <a:lnTo>
                  <a:pt x="49644" y="112775"/>
                </a:lnTo>
                <a:lnTo>
                  <a:pt x="115824" y="64388"/>
                </a:lnTo>
                <a:lnTo>
                  <a:pt x="77215" y="64388"/>
                </a:lnTo>
                <a:lnTo>
                  <a:pt x="49644"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bg object 40"/>
          <p:cNvSpPr/>
          <p:nvPr/>
        </p:nvSpPr>
        <p:spPr>
          <a:xfrm>
            <a:off x="858012" y="470915"/>
            <a:ext cx="116205" cy="113030"/>
          </a:xfrm>
          <a:custGeom>
            <a:avLst/>
            <a:gdLst/>
            <a:ahLst/>
            <a:cxnLst/>
            <a:rect l="l" t="t" r="r" b="b"/>
            <a:pathLst>
              <a:path w="116205" h="113029">
                <a:moveTo>
                  <a:pt x="49644" y="112775"/>
                </a:moveTo>
                <a:lnTo>
                  <a:pt x="0" y="37592"/>
                </a:lnTo>
                <a:lnTo>
                  <a:pt x="49644" y="0"/>
                </a:lnTo>
                <a:lnTo>
                  <a:pt x="77215" y="64388"/>
                </a:lnTo>
                <a:lnTo>
                  <a:pt x="115824" y="64388"/>
                </a:lnTo>
                <a:lnTo>
                  <a:pt x="49644" y="112775"/>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1" name="bg object 41"/>
          <p:cNvPicPr/>
          <p:nvPr/>
        </p:nvPicPr>
        <p:blipFill>
          <a:blip r:embed="rId13" cstate="print"/>
          <a:stretch>
            <a:fillRect/>
          </a:stretch>
        </p:blipFill>
        <p:spPr>
          <a:xfrm>
            <a:off x="815339" y="390171"/>
            <a:ext cx="81492" cy="122654"/>
          </a:xfrm>
          <a:prstGeom prst="rect">
            <a:avLst/>
          </a:prstGeom>
        </p:spPr>
      </p:pic>
      <p:sp>
        <p:nvSpPr>
          <p:cNvPr id="42" name="bg object 42"/>
          <p:cNvSpPr/>
          <p:nvPr/>
        </p:nvSpPr>
        <p:spPr>
          <a:xfrm>
            <a:off x="830579" y="367284"/>
            <a:ext cx="78105" cy="119380"/>
          </a:xfrm>
          <a:custGeom>
            <a:avLst/>
            <a:gdLst/>
            <a:ahLst/>
            <a:cxnLst/>
            <a:rect l="l" t="t" r="r" b="b"/>
            <a:pathLst>
              <a:path w="78105" h="119379">
                <a:moveTo>
                  <a:pt x="77723" y="0"/>
                </a:moveTo>
                <a:lnTo>
                  <a:pt x="0" y="37845"/>
                </a:lnTo>
                <a:lnTo>
                  <a:pt x="0" y="118871"/>
                </a:lnTo>
                <a:lnTo>
                  <a:pt x="77723" y="64896"/>
                </a:lnTo>
                <a:lnTo>
                  <a:pt x="77723"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bg object 43"/>
          <p:cNvSpPr/>
          <p:nvPr/>
        </p:nvSpPr>
        <p:spPr>
          <a:xfrm>
            <a:off x="830579" y="367284"/>
            <a:ext cx="78105" cy="119380"/>
          </a:xfrm>
          <a:custGeom>
            <a:avLst/>
            <a:gdLst/>
            <a:ahLst/>
            <a:cxnLst/>
            <a:rect l="l" t="t" r="r" b="b"/>
            <a:pathLst>
              <a:path w="78105" h="119379">
                <a:moveTo>
                  <a:pt x="0" y="118871"/>
                </a:moveTo>
                <a:lnTo>
                  <a:pt x="0" y="37845"/>
                </a:lnTo>
                <a:lnTo>
                  <a:pt x="77723" y="0"/>
                </a:lnTo>
                <a:lnTo>
                  <a:pt x="77723" y="64896"/>
                </a:lnTo>
                <a:lnTo>
                  <a:pt x="0" y="11887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4" name="bg object 44"/>
          <p:cNvPicPr/>
          <p:nvPr/>
        </p:nvPicPr>
        <p:blipFill>
          <a:blip r:embed="rId14" cstate="print"/>
          <a:stretch>
            <a:fillRect/>
          </a:stretch>
        </p:blipFill>
        <p:spPr>
          <a:xfrm>
            <a:off x="4863083" y="3284220"/>
            <a:ext cx="31132" cy="16001"/>
          </a:xfrm>
          <a:prstGeom prst="rect">
            <a:avLst/>
          </a:prstGeom>
        </p:spPr>
      </p:pic>
      <p:sp>
        <p:nvSpPr>
          <p:cNvPr id="45" name="bg object 45"/>
          <p:cNvSpPr/>
          <p:nvPr/>
        </p:nvSpPr>
        <p:spPr>
          <a:xfrm>
            <a:off x="4878323" y="3261359"/>
            <a:ext cx="27940" cy="12700"/>
          </a:xfrm>
          <a:custGeom>
            <a:avLst/>
            <a:gdLst/>
            <a:ahLst/>
            <a:cxnLst/>
            <a:rect l="l" t="t" r="r" b="b"/>
            <a:pathLst>
              <a:path w="27939" h="12700">
                <a:moveTo>
                  <a:pt x="10922" y="0"/>
                </a:moveTo>
                <a:lnTo>
                  <a:pt x="0" y="0"/>
                </a:lnTo>
                <a:lnTo>
                  <a:pt x="0" y="12191"/>
                </a:lnTo>
                <a:lnTo>
                  <a:pt x="27431" y="12191"/>
                </a:lnTo>
                <a:lnTo>
                  <a:pt x="10922"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bg object 46"/>
          <p:cNvSpPr/>
          <p:nvPr/>
        </p:nvSpPr>
        <p:spPr>
          <a:xfrm>
            <a:off x="4878323" y="3261359"/>
            <a:ext cx="27940" cy="12700"/>
          </a:xfrm>
          <a:custGeom>
            <a:avLst/>
            <a:gdLst/>
            <a:ahLst/>
            <a:cxnLst/>
            <a:rect l="l" t="t" r="r" b="b"/>
            <a:pathLst>
              <a:path w="27939" h="12700">
                <a:moveTo>
                  <a:pt x="27431" y="12191"/>
                </a:moveTo>
                <a:lnTo>
                  <a:pt x="10922" y="12191"/>
                </a:lnTo>
                <a:lnTo>
                  <a:pt x="0" y="12191"/>
                </a:lnTo>
                <a:lnTo>
                  <a:pt x="0" y="0"/>
                </a:lnTo>
                <a:lnTo>
                  <a:pt x="10922" y="0"/>
                </a:lnTo>
                <a:lnTo>
                  <a:pt x="27431" y="0"/>
                </a:lnTo>
                <a:lnTo>
                  <a:pt x="10922" y="0"/>
                </a:lnTo>
                <a:lnTo>
                  <a:pt x="27431" y="1219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bg object 47"/>
          <p:cNvSpPr/>
          <p:nvPr/>
        </p:nvSpPr>
        <p:spPr>
          <a:xfrm>
            <a:off x="4890515" y="3261360"/>
            <a:ext cx="5080" cy="12700"/>
          </a:xfrm>
          <a:custGeom>
            <a:avLst/>
            <a:gdLst/>
            <a:ahLst/>
            <a:cxnLst/>
            <a:rect l="l" t="t" r="r" b="b"/>
            <a:pathLst>
              <a:path w="5079" h="12700">
                <a:moveTo>
                  <a:pt x="4571" y="0"/>
                </a:moveTo>
                <a:lnTo>
                  <a:pt x="0" y="0"/>
                </a:lnTo>
                <a:lnTo>
                  <a:pt x="0" y="12191"/>
                </a:lnTo>
                <a:lnTo>
                  <a:pt x="4571" y="12191"/>
                </a:lnTo>
                <a:lnTo>
                  <a:pt x="4571"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bg object 48"/>
          <p:cNvSpPr/>
          <p:nvPr/>
        </p:nvSpPr>
        <p:spPr>
          <a:xfrm>
            <a:off x="4890515" y="3261360"/>
            <a:ext cx="5080" cy="12700"/>
          </a:xfrm>
          <a:custGeom>
            <a:avLst/>
            <a:gdLst/>
            <a:ahLst/>
            <a:cxnLst/>
            <a:rect l="l" t="t" r="r" b="b"/>
            <a:pathLst>
              <a:path w="5079" h="12700">
                <a:moveTo>
                  <a:pt x="0" y="12191"/>
                </a:moveTo>
                <a:lnTo>
                  <a:pt x="4571" y="12191"/>
                </a:lnTo>
                <a:lnTo>
                  <a:pt x="4571" y="0"/>
                </a:lnTo>
                <a:lnTo>
                  <a:pt x="0" y="0"/>
                </a:lnTo>
                <a:lnTo>
                  <a:pt x="0" y="1219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9" name="bg object 49"/>
          <p:cNvPicPr/>
          <p:nvPr/>
        </p:nvPicPr>
        <p:blipFill>
          <a:blip r:embed="rId15" cstate="print"/>
          <a:stretch>
            <a:fillRect/>
          </a:stretch>
        </p:blipFill>
        <p:spPr>
          <a:xfrm>
            <a:off x="4774691" y="3322320"/>
            <a:ext cx="26542" cy="20574"/>
          </a:xfrm>
          <a:prstGeom prst="rect">
            <a:avLst/>
          </a:prstGeom>
        </p:spPr>
      </p:pic>
      <p:pic>
        <p:nvPicPr>
          <p:cNvPr id="50" name="bg object 50"/>
          <p:cNvPicPr/>
          <p:nvPr/>
        </p:nvPicPr>
        <p:blipFill>
          <a:blip r:embed="rId16" cstate="print"/>
          <a:stretch>
            <a:fillRect/>
          </a:stretch>
        </p:blipFill>
        <p:spPr>
          <a:xfrm>
            <a:off x="710184" y="829043"/>
            <a:ext cx="264401" cy="183654"/>
          </a:xfrm>
          <a:prstGeom prst="rect">
            <a:avLst/>
          </a:prstGeom>
        </p:spPr>
      </p:pic>
      <p:sp>
        <p:nvSpPr>
          <p:cNvPr id="51" name="bg object 51"/>
          <p:cNvSpPr/>
          <p:nvPr/>
        </p:nvSpPr>
        <p:spPr>
          <a:xfrm>
            <a:off x="725424" y="806195"/>
            <a:ext cx="260985" cy="180340"/>
          </a:xfrm>
          <a:custGeom>
            <a:avLst/>
            <a:gdLst/>
            <a:ahLst/>
            <a:cxnLst/>
            <a:rect l="l" t="t" r="r" b="b"/>
            <a:pathLst>
              <a:path w="260984" h="180340">
                <a:moveTo>
                  <a:pt x="182981" y="0"/>
                </a:moveTo>
                <a:lnTo>
                  <a:pt x="88722" y="38100"/>
                </a:lnTo>
                <a:lnTo>
                  <a:pt x="0" y="114426"/>
                </a:lnTo>
                <a:lnTo>
                  <a:pt x="77622" y="163449"/>
                </a:lnTo>
                <a:lnTo>
                  <a:pt x="105346" y="125349"/>
                </a:lnTo>
                <a:lnTo>
                  <a:pt x="155257" y="179831"/>
                </a:lnTo>
                <a:lnTo>
                  <a:pt x="182981" y="163449"/>
                </a:lnTo>
                <a:lnTo>
                  <a:pt x="210705" y="179831"/>
                </a:lnTo>
                <a:lnTo>
                  <a:pt x="260604" y="87249"/>
                </a:lnTo>
                <a:lnTo>
                  <a:pt x="18298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bg object 52"/>
          <p:cNvSpPr/>
          <p:nvPr/>
        </p:nvSpPr>
        <p:spPr>
          <a:xfrm>
            <a:off x="725424" y="806195"/>
            <a:ext cx="260985" cy="180340"/>
          </a:xfrm>
          <a:custGeom>
            <a:avLst/>
            <a:gdLst/>
            <a:ahLst/>
            <a:cxnLst/>
            <a:rect l="l" t="t" r="r" b="b"/>
            <a:pathLst>
              <a:path w="260984" h="180340">
                <a:moveTo>
                  <a:pt x="88722" y="38100"/>
                </a:moveTo>
                <a:lnTo>
                  <a:pt x="182981" y="0"/>
                </a:lnTo>
                <a:lnTo>
                  <a:pt x="260604" y="87249"/>
                </a:lnTo>
                <a:lnTo>
                  <a:pt x="210705" y="179831"/>
                </a:lnTo>
                <a:lnTo>
                  <a:pt x="182981" y="163449"/>
                </a:lnTo>
                <a:lnTo>
                  <a:pt x="155257" y="179831"/>
                </a:lnTo>
                <a:lnTo>
                  <a:pt x="105346" y="125349"/>
                </a:lnTo>
                <a:lnTo>
                  <a:pt x="77622" y="163449"/>
                </a:lnTo>
                <a:lnTo>
                  <a:pt x="0" y="114426"/>
                </a:lnTo>
                <a:lnTo>
                  <a:pt x="88722" y="3810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3" name="bg object 53"/>
          <p:cNvPicPr/>
          <p:nvPr/>
        </p:nvPicPr>
        <p:blipFill>
          <a:blip r:embed="rId17" cstate="print"/>
          <a:stretch>
            <a:fillRect/>
          </a:stretch>
        </p:blipFill>
        <p:spPr>
          <a:xfrm>
            <a:off x="865631" y="368807"/>
            <a:ext cx="826769" cy="1142238"/>
          </a:xfrm>
          <a:prstGeom prst="rect">
            <a:avLst/>
          </a:prstGeom>
        </p:spPr>
      </p:pic>
      <p:sp>
        <p:nvSpPr>
          <p:cNvPr id="54" name="bg object 54"/>
          <p:cNvSpPr/>
          <p:nvPr/>
        </p:nvSpPr>
        <p:spPr>
          <a:xfrm>
            <a:off x="880872" y="345948"/>
            <a:ext cx="822960" cy="1138555"/>
          </a:xfrm>
          <a:custGeom>
            <a:avLst/>
            <a:gdLst/>
            <a:ahLst/>
            <a:cxnLst/>
            <a:rect l="l" t="t" r="r" b="b"/>
            <a:pathLst>
              <a:path w="822960" h="1138555">
                <a:moveTo>
                  <a:pt x="353491" y="0"/>
                </a:moveTo>
                <a:lnTo>
                  <a:pt x="182270" y="10794"/>
                </a:lnTo>
                <a:lnTo>
                  <a:pt x="160172" y="0"/>
                </a:lnTo>
                <a:lnTo>
                  <a:pt x="121513" y="48767"/>
                </a:lnTo>
                <a:lnTo>
                  <a:pt x="132562" y="97536"/>
                </a:lnTo>
                <a:lnTo>
                  <a:pt x="77330" y="113791"/>
                </a:lnTo>
                <a:lnTo>
                  <a:pt x="104940" y="178942"/>
                </a:lnTo>
                <a:lnTo>
                  <a:pt x="77330" y="254762"/>
                </a:lnTo>
                <a:lnTo>
                  <a:pt x="0" y="281939"/>
                </a:lnTo>
                <a:lnTo>
                  <a:pt x="93891" y="319786"/>
                </a:lnTo>
                <a:lnTo>
                  <a:pt x="104940" y="379475"/>
                </a:lnTo>
                <a:lnTo>
                  <a:pt x="198831" y="433704"/>
                </a:lnTo>
                <a:lnTo>
                  <a:pt x="143598" y="520446"/>
                </a:lnTo>
                <a:lnTo>
                  <a:pt x="209880" y="547497"/>
                </a:lnTo>
                <a:lnTo>
                  <a:pt x="220929" y="585469"/>
                </a:lnTo>
                <a:lnTo>
                  <a:pt x="209880" y="520446"/>
                </a:lnTo>
                <a:lnTo>
                  <a:pt x="314820" y="520446"/>
                </a:lnTo>
                <a:lnTo>
                  <a:pt x="287210" y="574675"/>
                </a:lnTo>
                <a:lnTo>
                  <a:pt x="325869" y="623442"/>
                </a:lnTo>
                <a:lnTo>
                  <a:pt x="364528" y="612521"/>
                </a:lnTo>
                <a:lnTo>
                  <a:pt x="342442" y="715644"/>
                </a:lnTo>
                <a:lnTo>
                  <a:pt x="237502" y="742696"/>
                </a:lnTo>
                <a:lnTo>
                  <a:pt x="182270" y="802259"/>
                </a:lnTo>
                <a:lnTo>
                  <a:pt x="248539" y="791463"/>
                </a:lnTo>
                <a:lnTo>
                  <a:pt x="237502" y="867410"/>
                </a:lnTo>
                <a:lnTo>
                  <a:pt x="132562" y="921638"/>
                </a:lnTo>
                <a:lnTo>
                  <a:pt x="160172" y="959485"/>
                </a:lnTo>
                <a:lnTo>
                  <a:pt x="220929" y="932434"/>
                </a:lnTo>
                <a:lnTo>
                  <a:pt x="303771" y="981201"/>
                </a:lnTo>
                <a:lnTo>
                  <a:pt x="381101" y="970406"/>
                </a:lnTo>
                <a:lnTo>
                  <a:pt x="353491" y="1008379"/>
                </a:lnTo>
                <a:lnTo>
                  <a:pt x="237502" y="1008379"/>
                </a:lnTo>
                <a:lnTo>
                  <a:pt x="104940" y="1138427"/>
                </a:lnTo>
                <a:lnTo>
                  <a:pt x="237502" y="1100454"/>
                </a:lnTo>
                <a:lnTo>
                  <a:pt x="287210" y="1138427"/>
                </a:lnTo>
                <a:lnTo>
                  <a:pt x="314820" y="1073403"/>
                </a:lnTo>
                <a:lnTo>
                  <a:pt x="408686" y="1084199"/>
                </a:lnTo>
                <a:lnTo>
                  <a:pt x="535813" y="1062481"/>
                </a:lnTo>
                <a:lnTo>
                  <a:pt x="679322" y="1073403"/>
                </a:lnTo>
                <a:lnTo>
                  <a:pt x="784352" y="1024636"/>
                </a:lnTo>
                <a:lnTo>
                  <a:pt x="795401" y="981201"/>
                </a:lnTo>
                <a:lnTo>
                  <a:pt x="718058" y="970406"/>
                </a:lnTo>
                <a:lnTo>
                  <a:pt x="811910" y="894461"/>
                </a:lnTo>
                <a:lnTo>
                  <a:pt x="822960" y="802259"/>
                </a:lnTo>
                <a:lnTo>
                  <a:pt x="784352" y="780668"/>
                </a:lnTo>
                <a:lnTo>
                  <a:pt x="651764" y="791463"/>
                </a:lnTo>
                <a:lnTo>
                  <a:pt x="679322" y="764413"/>
                </a:lnTo>
                <a:lnTo>
                  <a:pt x="640715" y="623442"/>
                </a:lnTo>
                <a:lnTo>
                  <a:pt x="601980" y="574675"/>
                </a:lnTo>
                <a:lnTo>
                  <a:pt x="535813" y="558418"/>
                </a:lnTo>
                <a:lnTo>
                  <a:pt x="497078" y="433704"/>
                </a:lnTo>
                <a:lnTo>
                  <a:pt x="447421" y="379475"/>
                </a:lnTo>
                <a:lnTo>
                  <a:pt x="342442" y="357759"/>
                </a:lnTo>
                <a:lnTo>
                  <a:pt x="392175" y="330707"/>
                </a:lnTo>
                <a:lnTo>
                  <a:pt x="408686" y="292735"/>
                </a:lnTo>
                <a:lnTo>
                  <a:pt x="469519" y="162687"/>
                </a:lnTo>
                <a:lnTo>
                  <a:pt x="458469" y="140969"/>
                </a:lnTo>
                <a:lnTo>
                  <a:pt x="303771" y="124713"/>
                </a:lnTo>
                <a:lnTo>
                  <a:pt x="237502" y="162687"/>
                </a:lnTo>
                <a:lnTo>
                  <a:pt x="276161" y="113791"/>
                </a:lnTo>
                <a:lnTo>
                  <a:pt x="248539" y="97536"/>
                </a:lnTo>
                <a:lnTo>
                  <a:pt x="325869" y="48767"/>
                </a:lnTo>
                <a:lnTo>
                  <a:pt x="35349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bg object 55"/>
          <p:cNvSpPr/>
          <p:nvPr/>
        </p:nvSpPr>
        <p:spPr>
          <a:xfrm>
            <a:off x="880872" y="345948"/>
            <a:ext cx="822960" cy="1138555"/>
          </a:xfrm>
          <a:custGeom>
            <a:avLst/>
            <a:gdLst/>
            <a:ahLst/>
            <a:cxnLst/>
            <a:rect l="l" t="t" r="r" b="b"/>
            <a:pathLst>
              <a:path w="822960" h="1138555">
                <a:moveTo>
                  <a:pt x="182270" y="10794"/>
                </a:moveTo>
                <a:lnTo>
                  <a:pt x="353491" y="0"/>
                </a:lnTo>
                <a:lnTo>
                  <a:pt x="325869" y="48767"/>
                </a:lnTo>
                <a:lnTo>
                  <a:pt x="248539" y="97536"/>
                </a:lnTo>
                <a:lnTo>
                  <a:pt x="276161" y="113791"/>
                </a:lnTo>
                <a:lnTo>
                  <a:pt x="237502" y="162687"/>
                </a:lnTo>
                <a:lnTo>
                  <a:pt x="303771" y="124713"/>
                </a:lnTo>
                <a:lnTo>
                  <a:pt x="458469" y="140969"/>
                </a:lnTo>
                <a:lnTo>
                  <a:pt x="469519" y="162687"/>
                </a:lnTo>
                <a:lnTo>
                  <a:pt x="408686" y="292735"/>
                </a:lnTo>
                <a:lnTo>
                  <a:pt x="392175" y="330707"/>
                </a:lnTo>
                <a:lnTo>
                  <a:pt x="342442" y="357759"/>
                </a:lnTo>
                <a:lnTo>
                  <a:pt x="447421" y="379475"/>
                </a:lnTo>
                <a:lnTo>
                  <a:pt x="497078" y="433704"/>
                </a:lnTo>
                <a:lnTo>
                  <a:pt x="535813" y="558418"/>
                </a:lnTo>
                <a:lnTo>
                  <a:pt x="601980" y="574675"/>
                </a:lnTo>
                <a:lnTo>
                  <a:pt x="640715" y="623442"/>
                </a:lnTo>
                <a:lnTo>
                  <a:pt x="679322" y="764413"/>
                </a:lnTo>
                <a:lnTo>
                  <a:pt x="651764" y="791463"/>
                </a:lnTo>
                <a:lnTo>
                  <a:pt x="784352" y="780668"/>
                </a:lnTo>
                <a:lnTo>
                  <a:pt x="822960" y="802259"/>
                </a:lnTo>
                <a:lnTo>
                  <a:pt x="811910" y="894461"/>
                </a:lnTo>
                <a:lnTo>
                  <a:pt x="718058" y="970406"/>
                </a:lnTo>
                <a:lnTo>
                  <a:pt x="795401" y="981201"/>
                </a:lnTo>
                <a:lnTo>
                  <a:pt x="784352" y="1024636"/>
                </a:lnTo>
                <a:lnTo>
                  <a:pt x="679322" y="1073403"/>
                </a:lnTo>
                <a:lnTo>
                  <a:pt x="535813" y="1062481"/>
                </a:lnTo>
                <a:lnTo>
                  <a:pt x="408686" y="1084199"/>
                </a:lnTo>
                <a:lnTo>
                  <a:pt x="314820" y="1073403"/>
                </a:lnTo>
                <a:lnTo>
                  <a:pt x="287210" y="1138427"/>
                </a:lnTo>
                <a:lnTo>
                  <a:pt x="237502" y="1100454"/>
                </a:lnTo>
                <a:lnTo>
                  <a:pt x="104940" y="1138427"/>
                </a:lnTo>
                <a:lnTo>
                  <a:pt x="237502" y="1008379"/>
                </a:lnTo>
                <a:lnTo>
                  <a:pt x="353491" y="1008379"/>
                </a:lnTo>
                <a:lnTo>
                  <a:pt x="381101" y="970406"/>
                </a:lnTo>
                <a:lnTo>
                  <a:pt x="303771" y="981201"/>
                </a:lnTo>
                <a:lnTo>
                  <a:pt x="220929" y="932434"/>
                </a:lnTo>
                <a:lnTo>
                  <a:pt x="160172" y="959485"/>
                </a:lnTo>
                <a:lnTo>
                  <a:pt x="132562" y="921638"/>
                </a:lnTo>
                <a:lnTo>
                  <a:pt x="237502" y="867410"/>
                </a:lnTo>
                <a:lnTo>
                  <a:pt x="248539" y="791463"/>
                </a:lnTo>
                <a:lnTo>
                  <a:pt x="182270" y="802259"/>
                </a:lnTo>
                <a:lnTo>
                  <a:pt x="237502" y="742696"/>
                </a:lnTo>
                <a:lnTo>
                  <a:pt x="342442" y="715644"/>
                </a:lnTo>
                <a:lnTo>
                  <a:pt x="364528" y="612521"/>
                </a:lnTo>
                <a:lnTo>
                  <a:pt x="325869" y="623442"/>
                </a:lnTo>
                <a:lnTo>
                  <a:pt x="287210" y="574675"/>
                </a:lnTo>
                <a:lnTo>
                  <a:pt x="314820" y="520446"/>
                </a:lnTo>
                <a:lnTo>
                  <a:pt x="209880" y="520446"/>
                </a:lnTo>
                <a:lnTo>
                  <a:pt x="220929" y="585469"/>
                </a:lnTo>
                <a:lnTo>
                  <a:pt x="209880" y="547497"/>
                </a:lnTo>
                <a:lnTo>
                  <a:pt x="143598" y="520446"/>
                </a:lnTo>
                <a:lnTo>
                  <a:pt x="198831" y="433704"/>
                </a:lnTo>
                <a:lnTo>
                  <a:pt x="104940" y="379475"/>
                </a:lnTo>
                <a:lnTo>
                  <a:pt x="93891" y="319786"/>
                </a:lnTo>
                <a:lnTo>
                  <a:pt x="0" y="281939"/>
                </a:lnTo>
                <a:lnTo>
                  <a:pt x="77330" y="254762"/>
                </a:lnTo>
                <a:lnTo>
                  <a:pt x="104940" y="178942"/>
                </a:lnTo>
                <a:lnTo>
                  <a:pt x="77330" y="113791"/>
                </a:lnTo>
                <a:lnTo>
                  <a:pt x="132562" y="97536"/>
                </a:lnTo>
                <a:lnTo>
                  <a:pt x="121513" y="48767"/>
                </a:lnTo>
                <a:lnTo>
                  <a:pt x="160172" y="0"/>
                </a:lnTo>
                <a:lnTo>
                  <a:pt x="182270" y="10794"/>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6" name="bg object 56"/>
          <p:cNvPicPr/>
          <p:nvPr/>
        </p:nvPicPr>
        <p:blipFill>
          <a:blip r:embed="rId18" cstate="print"/>
          <a:stretch>
            <a:fillRect/>
          </a:stretch>
        </p:blipFill>
        <p:spPr>
          <a:xfrm>
            <a:off x="3503676" y="2542032"/>
            <a:ext cx="826770" cy="758189"/>
          </a:xfrm>
          <a:prstGeom prst="rect">
            <a:avLst/>
          </a:prstGeom>
        </p:spPr>
      </p:pic>
      <p:sp>
        <p:nvSpPr>
          <p:cNvPr id="57" name="bg object 57"/>
          <p:cNvSpPr/>
          <p:nvPr/>
        </p:nvSpPr>
        <p:spPr>
          <a:xfrm>
            <a:off x="3518915" y="2519172"/>
            <a:ext cx="822960" cy="754380"/>
          </a:xfrm>
          <a:custGeom>
            <a:avLst/>
            <a:gdLst/>
            <a:ahLst/>
            <a:cxnLst/>
            <a:rect l="l" t="t" r="r" b="b"/>
            <a:pathLst>
              <a:path w="822960" h="754379">
                <a:moveTo>
                  <a:pt x="711605" y="689687"/>
                </a:moveTo>
                <a:lnTo>
                  <a:pt x="707009" y="705485"/>
                </a:lnTo>
                <a:lnTo>
                  <a:pt x="718058" y="705485"/>
                </a:lnTo>
                <a:lnTo>
                  <a:pt x="711605" y="689687"/>
                </a:lnTo>
                <a:close/>
              </a:path>
              <a:path w="822960" h="754379">
                <a:moveTo>
                  <a:pt x="718058" y="667512"/>
                </a:moveTo>
                <a:lnTo>
                  <a:pt x="707009" y="678433"/>
                </a:lnTo>
                <a:lnTo>
                  <a:pt x="711605" y="689687"/>
                </a:lnTo>
                <a:lnTo>
                  <a:pt x="718058" y="667512"/>
                </a:lnTo>
                <a:close/>
              </a:path>
              <a:path w="822960" h="754379">
                <a:moveTo>
                  <a:pt x="822960" y="591565"/>
                </a:moveTo>
                <a:lnTo>
                  <a:pt x="756666" y="613282"/>
                </a:lnTo>
                <a:lnTo>
                  <a:pt x="773303" y="656716"/>
                </a:lnTo>
                <a:lnTo>
                  <a:pt x="811911" y="629538"/>
                </a:lnTo>
                <a:lnTo>
                  <a:pt x="822960" y="591565"/>
                </a:lnTo>
                <a:close/>
              </a:path>
              <a:path w="822960" h="754379">
                <a:moveTo>
                  <a:pt x="718058" y="537337"/>
                </a:moveTo>
                <a:lnTo>
                  <a:pt x="695960" y="564388"/>
                </a:lnTo>
                <a:lnTo>
                  <a:pt x="718058" y="575310"/>
                </a:lnTo>
                <a:lnTo>
                  <a:pt x="707009" y="564388"/>
                </a:lnTo>
                <a:lnTo>
                  <a:pt x="718058" y="537337"/>
                </a:lnTo>
                <a:close/>
              </a:path>
              <a:path w="822960" h="754379">
                <a:moveTo>
                  <a:pt x="707009" y="526414"/>
                </a:moveTo>
                <a:lnTo>
                  <a:pt x="695960" y="526414"/>
                </a:lnTo>
                <a:lnTo>
                  <a:pt x="695960" y="537337"/>
                </a:lnTo>
                <a:lnTo>
                  <a:pt x="707009" y="526414"/>
                </a:lnTo>
                <a:close/>
              </a:path>
              <a:path w="822960" h="754379">
                <a:moveTo>
                  <a:pt x="303544" y="553592"/>
                </a:moveTo>
                <a:lnTo>
                  <a:pt x="276098" y="553592"/>
                </a:lnTo>
                <a:lnTo>
                  <a:pt x="303784" y="629538"/>
                </a:lnTo>
                <a:lnTo>
                  <a:pt x="314833" y="591565"/>
                </a:lnTo>
                <a:lnTo>
                  <a:pt x="303544" y="553592"/>
                </a:lnTo>
                <a:close/>
              </a:path>
              <a:path w="822960" h="754379">
                <a:moveTo>
                  <a:pt x="295465" y="526414"/>
                </a:moveTo>
                <a:lnTo>
                  <a:pt x="209931" y="526414"/>
                </a:lnTo>
                <a:lnTo>
                  <a:pt x="248538" y="591565"/>
                </a:lnTo>
                <a:lnTo>
                  <a:pt x="276098" y="553592"/>
                </a:lnTo>
                <a:lnTo>
                  <a:pt x="303544" y="553592"/>
                </a:lnTo>
                <a:lnTo>
                  <a:pt x="295465" y="526414"/>
                </a:lnTo>
                <a:close/>
              </a:path>
              <a:path w="822960" h="754379">
                <a:moveTo>
                  <a:pt x="198882" y="385317"/>
                </a:moveTo>
                <a:lnTo>
                  <a:pt x="132587" y="396239"/>
                </a:lnTo>
                <a:lnTo>
                  <a:pt x="121538" y="434213"/>
                </a:lnTo>
                <a:lnTo>
                  <a:pt x="160147" y="461263"/>
                </a:lnTo>
                <a:lnTo>
                  <a:pt x="187833" y="564388"/>
                </a:lnTo>
                <a:lnTo>
                  <a:pt x="209931" y="526414"/>
                </a:lnTo>
                <a:lnTo>
                  <a:pt x="295465" y="526414"/>
                </a:lnTo>
                <a:lnTo>
                  <a:pt x="276098" y="461263"/>
                </a:lnTo>
                <a:lnTo>
                  <a:pt x="331343" y="423290"/>
                </a:lnTo>
                <a:lnTo>
                  <a:pt x="401798" y="423290"/>
                </a:lnTo>
                <a:lnTo>
                  <a:pt x="399063" y="412495"/>
                </a:lnTo>
                <a:lnTo>
                  <a:pt x="287147" y="412495"/>
                </a:lnTo>
                <a:lnTo>
                  <a:pt x="198882" y="385317"/>
                </a:lnTo>
                <a:close/>
              </a:path>
              <a:path w="822960" h="754379">
                <a:moveTo>
                  <a:pt x="552323" y="515619"/>
                </a:moveTo>
                <a:lnTo>
                  <a:pt x="524763" y="537337"/>
                </a:lnTo>
                <a:lnTo>
                  <a:pt x="535813" y="564388"/>
                </a:lnTo>
                <a:lnTo>
                  <a:pt x="552323" y="526414"/>
                </a:lnTo>
                <a:lnTo>
                  <a:pt x="552323" y="515619"/>
                </a:lnTo>
                <a:close/>
              </a:path>
              <a:path w="822960" h="754379">
                <a:moveTo>
                  <a:pt x="629666" y="461263"/>
                </a:moveTo>
                <a:lnTo>
                  <a:pt x="601980" y="461263"/>
                </a:lnTo>
                <a:lnTo>
                  <a:pt x="601980" y="477647"/>
                </a:lnTo>
                <a:lnTo>
                  <a:pt x="629666" y="461263"/>
                </a:lnTo>
                <a:close/>
              </a:path>
              <a:path w="822960" h="754379">
                <a:moveTo>
                  <a:pt x="707009" y="450468"/>
                </a:moveTo>
                <a:lnTo>
                  <a:pt x="657225" y="450468"/>
                </a:lnTo>
                <a:lnTo>
                  <a:pt x="679323" y="461263"/>
                </a:lnTo>
                <a:lnTo>
                  <a:pt x="707009" y="450468"/>
                </a:lnTo>
                <a:close/>
              </a:path>
              <a:path w="822960" h="754379">
                <a:moveTo>
                  <a:pt x="401798" y="423290"/>
                </a:moveTo>
                <a:lnTo>
                  <a:pt x="331343" y="423290"/>
                </a:lnTo>
                <a:lnTo>
                  <a:pt x="408686" y="450468"/>
                </a:lnTo>
                <a:lnTo>
                  <a:pt x="401798" y="423290"/>
                </a:lnTo>
                <a:close/>
              </a:path>
              <a:path w="822960" h="754379">
                <a:moveTo>
                  <a:pt x="447421" y="10794"/>
                </a:moveTo>
                <a:lnTo>
                  <a:pt x="287147" y="37973"/>
                </a:lnTo>
                <a:lnTo>
                  <a:pt x="198882" y="65150"/>
                </a:lnTo>
                <a:lnTo>
                  <a:pt x="121538" y="92201"/>
                </a:lnTo>
                <a:lnTo>
                  <a:pt x="104901" y="92201"/>
                </a:lnTo>
                <a:lnTo>
                  <a:pt x="104901" y="103124"/>
                </a:lnTo>
                <a:lnTo>
                  <a:pt x="121538" y="103124"/>
                </a:lnTo>
                <a:lnTo>
                  <a:pt x="104901" y="113918"/>
                </a:lnTo>
                <a:lnTo>
                  <a:pt x="44196" y="206248"/>
                </a:lnTo>
                <a:lnTo>
                  <a:pt x="0" y="233425"/>
                </a:lnTo>
                <a:lnTo>
                  <a:pt x="66294" y="293115"/>
                </a:lnTo>
                <a:lnTo>
                  <a:pt x="55245" y="385317"/>
                </a:lnTo>
                <a:lnTo>
                  <a:pt x="66294" y="434213"/>
                </a:lnTo>
                <a:lnTo>
                  <a:pt x="93853" y="336423"/>
                </a:lnTo>
                <a:lnTo>
                  <a:pt x="276098" y="336423"/>
                </a:lnTo>
                <a:lnTo>
                  <a:pt x="342392" y="282193"/>
                </a:lnTo>
                <a:lnTo>
                  <a:pt x="265175" y="179069"/>
                </a:lnTo>
                <a:lnTo>
                  <a:pt x="265175" y="141097"/>
                </a:lnTo>
                <a:lnTo>
                  <a:pt x="408749" y="141097"/>
                </a:lnTo>
                <a:lnTo>
                  <a:pt x="370078" y="113918"/>
                </a:lnTo>
                <a:lnTo>
                  <a:pt x="458470" y="75945"/>
                </a:lnTo>
                <a:lnTo>
                  <a:pt x="625703" y="75945"/>
                </a:lnTo>
                <a:lnTo>
                  <a:pt x="644660" y="54228"/>
                </a:lnTo>
                <a:lnTo>
                  <a:pt x="524763" y="54228"/>
                </a:lnTo>
                <a:lnTo>
                  <a:pt x="447421" y="10794"/>
                </a:lnTo>
                <a:close/>
              </a:path>
              <a:path w="822960" h="754379">
                <a:moveTo>
                  <a:pt x="366548" y="374523"/>
                </a:moveTo>
                <a:lnTo>
                  <a:pt x="198882" y="374523"/>
                </a:lnTo>
                <a:lnTo>
                  <a:pt x="314833" y="412495"/>
                </a:lnTo>
                <a:lnTo>
                  <a:pt x="399063" y="412495"/>
                </a:lnTo>
                <a:lnTo>
                  <a:pt x="392175" y="385317"/>
                </a:lnTo>
                <a:lnTo>
                  <a:pt x="366548" y="374523"/>
                </a:lnTo>
                <a:close/>
              </a:path>
              <a:path w="822960" h="754379">
                <a:moveTo>
                  <a:pt x="276098" y="336423"/>
                </a:moveTo>
                <a:lnTo>
                  <a:pt x="93853" y="336423"/>
                </a:lnTo>
                <a:lnTo>
                  <a:pt x="121538" y="385317"/>
                </a:lnTo>
                <a:lnTo>
                  <a:pt x="198882" y="374523"/>
                </a:lnTo>
                <a:lnTo>
                  <a:pt x="366548" y="374523"/>
                </a:lnTo>
                <a:lnTo>
                  <a:pt x="276098" y="336423"/>
                </a:lnTo>
                <a:close/>
              </a:path>
              <a:path w="822960" h="754379">
                <a:moveTo>
                  <a:pt x="601980" y="358139"/>
                </a:moveTo>
                <a:lnTo>
                  <a:pt x="590931" y="358139"/>
                </a:lnTo>
                <a:lnTo>
                  <a:pt x="601980" y="385317"/>
                </a:lnTo>
                <a:lnTo>
                  <a:pt x="613029" y="385317"/>
                </a:lnTo>
                <a:lnTo>
                  <a:pt x="601980" y="358139"/>
                </a:lnTo>
                <a:close/>
              </a:path>
              <a:path w="822960" h="754379">
                <a:moveTo>
                  <a:pt x="303784" y="320166"/>
                </a:moveTo>
                <a:lnTo>
                  <a:pt x="408686" y="374523"/>
                </a:lnTo>
                <a:lnTo>
                  <a:pt x="424844" y="347344"/>
                </a:lnTo>
                <a:lnTo>
                  <a:pt x="419735" y="347344"/>
                </a:lnTo>
                <a:lnTo>
                  <a:pt x="303784" y="320166"/>
                </a:lnTo>
                <a:close/>
              </a:path>
              <a:path w="822960" h="754379">
                <a:moveTo>
                  <a:pt x="447421" y="309372"/>
                </a:moveTo>
                <a:lnTo>
                  <a:pt x="419735" y="347344"/>
                </a:lnTo>
                <a:lnTo>
                  <a:pt x="424844" y="347344"/>
                </a:lnTo>
                <a:lnTo>
                  <a:pt x="447421" y="309372"/>
                </a:lnTo>
                <a:close/>
              </a:path>
              <a:path w="822960" h="754379">
                <a:moveTo>
                  <a:pt x="640714" y="271399"/>
                </a:moveTo>
                <a:lnTo>
                  <a:pt x="574421" y="282193"/>
                </a:lnTo>
                <a:lnTo>
                  <a:pt x="640714" y="309372"/>
                </a:lnTo>
                <a:lnTo>
                  <a:pt x="657225" y="293115"/>
                </a:lnTo>
                <a:lnTo>
                  <a:pt x="640714" y="271399"/>
                </a:lnTo>
                <a:close/>
              </a:path>
              <a:path w="822960" h="754379">
                <a:moveTo>
                  <a:pt x="563372" y="130301"/>
                </a:moveTo>
                <a:lnTo>
                  <a:pt x="552323" y="130301"/>
                </a:lnTo>
                <a:lnTo>
                  <a:pt x="524763" y="195325"/>
                </a:lnTo>
                <a:lnTo>
                  <a:pt x="552323" y="195325"/>
                </a:lnTo>
                <a:lnTo>
                  <a:pt x="563372" y="130301"/>
                </a:lnTo>
                <a:close/>
              </a:path>
              <a:path w="822960" h="754379">
                <a:moveTo>
                  <a:pt x="408749" y="141097"/>
                </a:moveTo>
                <a:lnTo>
                  <a:pt x="265175" y="141097"/>
                </a:lnTo>
                <a:lnTo>
                  <a:pt x="342392" y="168275"/>
                </a:lnTo>
                <a:lnTo>
                  <a:pt x="370078" y="152018"/>
                </a:lnTo>
                <a:lnTo>
                  <a:pt x="424290" y="152018"/>
                </a:lnTo>
                <a:lnTo>
                  <a:pt x="408749" y="141097"/>
                </a:lnTo>
                <a:close/>
              </a:path>
              <a:path w="822960" h="754379">
                <a:moveTo>
                  <a:pt x="424290" y="152018"/>
                </a:moveTo>
                <a:lnTo>
                  <a:pt x="370078" y="152018"/>
                </a:lnTo>
                <a:lnTo>
                  <a:pt x="447421" y="168275"/>
                </a:lnTo>
                <a:lnTo>
                  <a:pt x="424290" y="152018"/>
                </a:lnTo>
                <a:close/>
              </a:path>
              <a:path w="822960" h="754379">
                <a:moveTo>
                  <a:pt x="121538" y="103124"/>
                </a:moveTo>
                <a:lnTo>
                  <a:pt x="93853" y="103124"/>
                </a:lnTo>
                <a:lnTo>
                  <a:pt x="104901" y="113918"/>
                </a:lnTo>
                <a:lnTo>
                  <a:pt x="121538" y="103124"/>
                </a:lnTo>
                <a:close/>
              </a:path>
              <a:path w="822960" h="754379">
                <a:moveTo>
                  <a:pt x="497078" y="75945"/>
                </a:moveTo>
                <a:lnTo>
                  <a:pt x="458470" y="75945"/>
                </a:lnTo>
                <a:lnTo>
                  <a:pt x="469519" y="113918"/>
                </a:lnTo>
                <a:lnTo>
                  <a:pt x="497078" y="75945"/>
                </a:lnTo>
                <a:close/>
              </a:path>
              <a:path w="822960" h="754379">
                <a:moveTo>
                  <a:pt x="625703" y="75945"/>
                </a:moveTo>
                <a:lnTo>
                  <a:pt x="497078" y="75945"/>
                </a:lnTo>
                <a:lnTo>
                  <a:pt x="601980" y="103124"/>
                </a:lnTo>
                <a:lnTo>
                  <a:pt x="625703" y="75945"/>
                </a:lnTo>
                <a:close/>
              </a:path>
              <a:path w="822960" h="754379">
                <a:moveTo>
                  <a:pt x="629666" y="0"/>
                </a:moveTo>
                <a:lnTo>
                  <a:pt x="613029" y="37973"/>
                </a:lnTo>
                <a:lnTo>
                  <a:pt x="524763" y="54228"/>
                </a:lnTo>
                <a:lnTo>
                  <a:pt x="644660" y="54228"/>
                </a:lnTo>
                <a:lnTo>
                  <a:pt x="668274" y="27177"/>
                </a:lnTo>
                <a:lnTo>
                  <a:pt x="629666" y="0"/>
                </a:lnTo>
                <a:close/>
              </a:path>
              <a:path w="822960" h="754379">
                <a:moveTo>
                  <a:pt x="419735" y="694689"/>
                </a:moveTo>
                <a:lnTo>
                  <a:pt x="353441" y="716406"/>
                </a:lnTo>
                <a:lnTo>
                  <a:pt x="469519" y="743585"/>
                </a:lnTo>
                <a:lnTo>
                  <a:pt x="469519" y="754379"/>
                </a:lnTo>
                <a:lnTo>
                  <a:pt x="613029" y="754379"/>
                </a:lnTo>
                <a:lnTo>
                  <a:pt x="629666" y="716406"/>
                </a:lnTo>
                <a:lnTo>
                  <a:pt x="419735" y="694689"/>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bg object 58"/>
          <p:cNvSpPr/>
          <p:nvPr/>
        </p:nvSpPr>
        <p:spPr>
          <a:xfrm>
            <a:off x="3518915" y="2519172"/>
            <a:ext cx="822960" cy="754380"/>
          </a:xfrm>
          <a:custGeom>
            <a:avLst/>
            <a:gdLst/>
            <a:ahLst/>
            <a:cxnLst/>
            <a:rect l="l" t="t" r="r" b="b"/>
            <a:pathLst>
              <a:path w="822960" h="754379">
                <a:moveTo>
                  <a:pt x="707009" y="705485"/>
                </a:moveTo>
                <a:lnTo>
                  <a:pt x="718058" y="667512"/>
                </a:lnTo>
                <a:lnTo>
                  <a:pt x="707009" y="678433"/>
                </a:lnTo>
                <a:lnTo>
                  <a:pt x="718058" y="705485"/>
                </a:lnTo>
                <a:lnTo>
                  <a:pt x="707009" y="705485"/>
                </a:lnTo>
                <a:close/>
              </a:path>
              <a:path w="822960" h="754379">
                <a:moveTo>
                  <a:pt x="756666" y="613282"/>
                </a:moveTo>
                <a:lnTo>
                  <a:pt x="822960" y="591565"/>
                </a:lnTo>
                <a:lnTo>
                  <a:pt x="811911" y="629538"/>
                </a:lnTo>
                <a:lnTo>
                  <a:pt x="773303" y="656716"/>
                </a:lnTo>
                <a:lnTo>
                  <a:pt x="756666" y="613282"/>
                </a:lnTo>
                <a:close/>
              </a:path>
              <a:path w="822960" h="754379">
                <a:moveTo>
                  <a:pt x="718058" y="575310"/>
                </a:moveTo>
                <a:lnTo>
                  <a:pt x="695960" y="564388"/>
                </a:lnTo>
                <a:lnTo>
                  <a:pt x="718058" y="537337"/>
                </a:lnTo>
                <a:lnTo>
                  <a:pt x="707009" y="564388"/>
                </a:lnTo>
                <a:lnTo>
                  <a:pt x="718058" y="575310"/>
                </a:lnTo>
                <a:close/>
              </a:path>
              <a:path w="822960" h="754379">
                <a:moveTo>
                  <a:pt x="679323" y="526414"/>
                </a:moveTo>
                <a:lnTo>
                  <a:pt x="707009" y="526414"/>
                </a:lnTo>
                <a:lnTo>
                  <a:pt x="695960" y="537337"/>
                </a:lnTo>
                <a:lnTo>
                  <a:pt x="695960" y="526414"/>
                </a:lnTo>
                <a:lnTo>
                  <a:pt x="679323" y="526414"/>
                </a:lnTo>
                <a:close/>
              </a:path>
              <a:path w="822960" h="754379">
                <a:moveTo>
                  <a:pt x="524763" y="537337"/>
                </a:moveTo>
                <a:lnTo>
                  <a:pt x="552323" y="515619"/>
                </a:lnTo>
                <a:lnTo>
                  <a:pt x="552323" y="526414"/>
                </a:lnTo>
                <a:lnTo>
                  <a:pt x="535813" y="564388"/>
                </a:lnTo>
                <a:lnTo>
                  <a:pt x="524763" y="537337"/>
                </a:lnTo>
                <a:close/>
              </a:path>
              <a:path w="822960" h="754379">
                <a:moveTo>
                  <a:pt x="629666" y="461263"/>
                </a:moveTo>
                <a:lnTo>
                  <a:pt x="601980" y="477647"/>
                </a:lnTo>
                <a:lnTo>
                  <a:pt x="601980" y="461263"/>
                </a:lnTo>
                <a:lnTo>
                  <a:pt x="629666" y="461263"/>
                </a:lnTo>
                <a:close/>
              </a:path>
              <a:path w="822960" h="754379">
                <a:moveTo>
                  <a:pt x="695960" y="450468"/>
                </a:moveTo>
                <a:lnTo>
                  <a:pt x="707009" y="450468"/>
                </a:lnTo>
                <a:lnTo>
                  <a:pt x="679323" y="461263"/>
                </a:lnTo>
                <a:lnTo>
                  <a:pt x="657225" y="450468"/>
                </a:lnTo>
                <a:lnTo>
                  <a:pt x="695960" y="450468"/>
                </a:lnTo>
                <a:close/>
              </a:path>
              <a:path w="822960" h="754379">
                <a:moveTo>
                  <a:pt x="601980" y="358139"/>
                </a:moveTo>
                <a:lnTo>
                  <a:pt x="613029" y="385317"/>
                </a:lnTo>
                <a:lnTo>
                  <a:pt x="601980" y="385317"/>
                </a:lnTo>
                <a:lnTo>
                  <a:pt x="590931" y="358139"/>
                </a:lnTo>
                <a:lnTo>
                  <a:pt x="601980" y="358139"/>
                </a:lnTo>
                <a:close/>
              </a:path>
              <a:path w="822960" h="754379">
                <a:moveTo>
                  <a:pt x="447421" y="309372"/>
                </a:moveTo>
                <a:lnTo>
                  <a:pt x="408686" y="374523"/>
                </a:lnTo>
                <a:lnTo>
                  <a:pt x="303784" y="320166"/>
                </a:lnTo>
                <a:lnTo>
                  <a:pt x="419735" y="347344"/>
                </a:lnTo>
                <a:lnTo>
                  <a:pt x="447421" y="309372"/>
                </a:lnTo>
                <a:close/>
              </a:path>
              <a:path w="822960" h="754379">
                <a:moveTo>
                  <a:pt x="640714" y="271399"/>
                </a:moveTo>
                <a:lnTo>
                  <a:pt x="657225" y="293115"/>
                </a:lnTo>
                <a:lnTo>
                  <a:pt x="640714" y="309372"/>
                </a:lnTo>
                <a:lnTo>
                  <a:pt x="574421" y="282193"/>
                </a:lnTo>
                <a:lnTo>
                  <a:pt x="640714" y="271399"/>
                </a:lnTo>
                <a:close/>
              </a:path>
              <a:path w="822960" h="754379">
                <a:moveTo>
                  <a:pt x="552323" y="195325"/>
                </a:moveTo>
                <a:lnTo>
                  <a:pt x="524763" y="195325"/>
                </a:lnTo>
                <a:lnTo>
                  <a:pt x="552323" y="130301"/>
                </a:lnTo>
                <a:lnTo>
                  <a:pt x="563372" y="130301"/>
                </a:lnTo>
                <a:lnTo>
                  <a:pt x="552323" y="195325"/>
                </a:lnTo>
                <a:close/>
              </a:path>
              <a:path w="822960" h="754379">
                <a:moveTo>
                  <a:pt x="629666" y="716406"/>
                </a:moveTo>
                <a:lnTo>
                  <a:pt x="613029" y="754379"/>
                </a:lnTo>
                <a:lnTo>
                  <a:pt x="469519" y="754379"/>
                </a:lnTo>
                <a:lnTo>
                  <a:pt x="469519" y="743585"/>
                </a:lnTo>
                <a:lnTo>
                  <a:pt x="353441" y="716406"/>
                </a:lnTo>
                <a:lnTo>
                  <a:pt x="419735" y="694689"/>
                </a:lnTo>
                <a:lnTo>
                  <a:pt x="629666" y="716406"/>
                </a:lnTo>
                <a:close/>
              </a:path>
              <a:path w="822960" h="754379">
                <a:moveTo>
                  <a:pt x="104901" y="113918"/>
                </a:moveTo>
                <a:lnTo>
                  <a:pt x="121538" y="103124"/>
                </a:lnTo>
                <a:lnTo>
                  <a:pt x="104901" y="113918"/>
                </a:lnTo>
                <a:lnTo>
                  <a:pt x="93853" y="103124"/>
                </a:lnTo>
                <a:lnTo>
                  <a:pt x="104901" y="103124"/>
                </a:lnTo>
                <a:lnTo>
                  <a:pt x="104901" y="92201"/>
                </a:lnTo>
                <a:lnTo>
                  <a:pt x="121538" y="92201"/>
                </a:lnTo>
                <a:lnTo>
                  <a:pt x="198882" y="65150"/>
                </a:lnTo>
                <a:lnTo>
                  <a:pt x="287147" y="37973"/>
                </a:lnTo>
                <a:lnTo>
                  <a:pt x="447421" y="10794"/>
                </a:lnTo>
                <a:lnTo>
                  <a:pt x="524763" y="54228"/>
                </a:lnTo>
                <a:lnTo>
                  <a:pt x="613029" y="37973"/>
                </a:lnTo>
                <a:lnTo>
                  <a:pt x="629666" y="0"/>
                </a:lnTo>
                <a:lnTo>
                  <a:pt x="668274" y="27177"/>
                </a:lnTo>
                <a:lnTo>
                  <a:pt x="601980" y="103124"/>
                </a:lnTo>
                <a:lnTo>
                  <a:pt x="497078" y="75945"/>
                </a:lnTo>
                <a:lnTo>
                  <a:pt x="469519" y="113918"/>
                </a:lnTo>
                <a:lnTo>
                  <a:pt x="458470" y="75945"/>
                </a:lnTo>
                <a:lnTo>
                  <a:pt x="370078" y="113918"/>
                </a:lnTo>
                <a:lnTo>
                  <a:pt x="447421" y="168275"/>
                </a:lnTo>
                <a:lnTo>
                  <a:pt x="370078" y="152018"/>
                </a:lnTo>
                <a:lnTo>
                  <a:pt x="342392" y="168275"/>
                </a:lnTo>
                <a:lnTo>
                  <a:pt x="265175" y="141097"/>
                </a:lnTo>
                <a:lnTo>
                  <a:pt x="265175" y="179069"/>
                </a:lnTo>
                <a:lnTo>
                  <a:pt x="342392" y="282193"/>
                </a:lnTo>
                <a:lnTo>
                  <a:pt x="276098" y="336423"/>
                </a:lnTo>
                <a:lnTo>
                  <a:pt x="392175" y="385317"/>
                </a:lnTo>
                <a:lnTo>
                  <a:pt x="408686" y="450468"/>
                </a:lnTo>
                <a:lnTo>
                  <a:pt x="331343" y="423290"/>
                </a:lnTo>
                <a:lnTo>
                  <a:pt x="276098" y="461263"/>
                </a:lnTo>
                <a:lnTo>
                  <a:pt x="314833" y="591565"/>
                </a:lnTo>
                <a:lnTo>
                  <a:pt x="303784" y="629538"/>
                </a:lnTo>
                <a:lnTo>
                  <a:pt x="276098" y="553592"/>
                </a:lnTo>
                <a:lnTo>
                  <a:pt x="248538" y="591565"/>
                </a:lnTo>
                <a:lnTo>
                  <a:pt x="209931" y="526414"/>
                </a:lnTo>
                <a:lnTo>
                  <a:pt x="187833" y="564388"/>
                </a:lnTo>
                <a:lnTo>
                  <a:pt x="160147" y="461263"/>
                </a:lnTo>
                <a:lnTo>
                  <a:pt x="121538" y="434213"/>
                </a:lnTo>
                <a:lnTo>
                  <a:pt x="132587" y="396239"/>
                </a:lnTo>
                <a:lnTo>
                  <a:pt x="198882" y="385317"/>
                </a:lnTo>
                <a:lnTo>
                  <a:pt x="287147" y="412495"/>
                </a:lnTo>
                <a:lnTo>
                  <a:pt x="314833" y="412495"/>
                </a:lnTo>
                <a:lnTo>
                  <a:pt x="198882" y="374523"/>
                </a:lnTo>
                <a:lnTo>
                  <a:pt x="121538" y="385317"/>
                </a:lnTo>
                <a:lnTo>
                  <a:pt x="93853" y="336423"/>
                </a:lnTo>
                <a:lnTo>
                  <a:pt x="66294" y="434213"/>
                </a:lnTo>
                <a:lnTo>
                  <a:pt x="55245" y="385317"/>
                </a:lnTo>
                <a:lnTo>
                  <a:pt x="66294" y="293115"/>
                </a:lnTo>
                <a:lnTo>
                  <a:pt x="0" y="233425"/>
                </a:lnTo>
                <a:lnTo>
                  <a:pt x="44196" y="206248"/>
                </a:lnTo>
                <a:lnTo>
                  <a:pt x="104901" y="113918"/>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9" name="bg object 59"/>
          <p:cNvPicPr/>
          <p:nvPr/>
        </p:nvPicPr>
        <p:blipFill>
          <a:blip r:embed="rId19" cstate="print"/>
          <a:stretch>
            <a:fillRect/>
          </a:stretch>
        </p:blipFill>
        <p:spPr>
          <a:xfrm>
            <a:off x="2330195" y="493776"/>
            <a:ext cx="447281" cy="436625"/>
          </a:xfrm>
          <a:prstGeom prst="rect">
            <a:avLst/>
          </a:prstGeom>
        </p:spPr>
      </p:pic>
      <p:sp>
        <p:nvSpPr>
          <p:cNvPr id="60" name="bg object 60"/>
          <p:cNvSpPr/>
          <p:nvPr/>
        </p:nvSpPr>
        <p:spPr>
          <a:xfrm>
            <a:off x="2345435" y="470915"/>
            <a:ext cx="443865" cy="433070"/>
          </a:xfrm>
          <a:custGeom>
            <a:avLst/>
            <a:gdLst/>
            <a:ahLst/>
            <a:cxnLst/>
            <a:rect l="l" t="t" r="r" b="b"/>
            <a:pathLst>
              <a:path w="443864" h="433069">
                <a:moveTo>
                  <a:pt x="315975" y="384175"/>
                </a:moveTo>
                <a:lnTo>
                  <a:pt x="288289" y="411225"/>
                </a:lnTo>
                <a:lnTo>
                  <a:pt x="327025" y="432816"/>
                </a:lnTo>
                <a:lnTo>
                  <a:pt x="365887" y="422021"/>
                </a:lnTo>
                <a:lnTo>
                  <a:pt x="315975" y="384175"/>
                </a:lnTo>
                <a:close/>
              </a:path>
              <a:path w="443864" h="433069">
                <a:moveTo>
                  <a:pt x="354838" y="254254"/>
                </a:moveTo>
                <a:lnTo>
                  <a:pt x="288289" y="292100"/>
                </a:lnTo>
                <a:lnTo>
                  <a:pt x="315975" y="357124"/>
                </a:lnTo>
                <a:lnTo>
                  <a:pt x="338200" y="357124"/>
                </a:lnTo>
                <a:lnTo>
                  <a:pt x="376936" y="422021"/>
                </a:lnTo>
                <a:lnTo>
                  <a:pt x="404621" y="308356"/>
                </a:lnTo>
                <a:lnTo>
                  <a:pt x="443483" y="281305"/>
                </a:lnTo>
                <a:lnTo>
                  <a:pt x="365887" y="281305"/>
                </a:lnTo>
                <a:lnTo>
                  <a:pt x="354838" y="254254"/>
                </a:lnTo>
                <a:close/>
              </a:path>
              <a:path w="443864" h="433069">
                <a:moveTo>
                  <a:pt x="415797" y="373253"/>
                </a:moveTo>
                <a:lnTo>
                  <a:pt x="393572" y="384175"/>
                </a:lnTo>
                <a:lnTo>
                  <a:pt x="404621" y="394970"/>
                </a:lnTo>
                <a:lnTo>
                  <a:pt x="432434" y="384175"/>
                </a:lnTo>
                <a:lnTo>
                  <a:pt x="415797" y="373253"/>
                </a:lnTo>
                <a:close/>
              </a:path>
              <a:path w="443864" h="433069">
                <a:moveTo>
                  <a:pt x="404621" y="232663"/>
                </a:moveTo>
                <a:lnTo>
                  <a:pt x="365887" y="281305"/>
                </a:lnTo>
                <a:lnTo>
                  <a:pt x="443483" y="281305"/>
                </a:lnTo>
                <a:lnTo>
                  <a:pt x="404621" y="232663"/>
                </a:lnTo>
                <a:close/>
              </a:path>
              <a:path w="443864" h="433069">
                <a:moveTo>
                  <a:pt x="218093" y="91948"/>
                </a:moveTo>
                <a:lnTo>
                  <a:pt x="155194" y="91948"/>
                </a:lnTo>
                <a:lnTo>
                  <a:pt x="38862" y="167767"/>
                </a:lnTo>
                <a:lnTo>
                  <a:pt x="0" y="167767"/>
                </a:lnTo>
                <a:lnTo>
                  <a:pt x="27686" y="254254"/>
                </a:lnTo>
                <a:lnTo>
                  <a:pt x="0" y="308356"/>
                </a:lnTo>
                <a:lnTo>
                  <a:pt x="49911" y="319150"/>
                </a:lnTo>
                <a:lnTo>
                  <a:pt x="49911" y="394970"/>
                </a:lnTo>
                <a:lnTo>
                  <a:pt x="66547" y="394970"/>
                </a:lnTo>
                <a:lnTo>
                  <a:pt x="127507" y="411225"/>
                </a:lnTo>
                <a:lnTo>
                  <a:pt x="155194" y="384175"/>
                </a:lnTo>
                <a:lnTo>
                  <a:pt x="127507" y="308356"/>
                </a:lnTo>
                <a:lnTo>
                  <a:pt x="271652" y="178562"/>
                </a:lnTo>
                <a:lnTo>
                  <a:pt x="221741" y="167767"/>
                </a:lnTo>
                <a:lnTo>
                  <a:pt x="210693" y="113664"/>
                </a:lnTo>
                <a:lnTo>
                  <a:pt x="218093" y="91948"/>
                </a:lnTo>
                <a:close/>
              </a:path>
              <a:path w="443864" h="433069">
                <a:moveTo>
                  <a:pt x="210693" y="384175"/>
                </a:moveTo>
                <a:lnTo>
                  <a:pt x="221741" y="411225"/>
                </a:lnTo>
                <a:lnTo>
                  <a:pt x="232790" y="394970"/>
                </a:lnTo>
                <a:lnTo>
                  <a:pt x="221741" y="394970"/>
                </a:lnTo>
                <a:lnTo>
                  <a:pt x="210693" y="384175"/>
                </a:lnTo>
                <a:close/>
              </a:path>
              <a:path w="443864" h="433069">
                <a:moveTo>
                  <a:pt x="271652" y="357124"/>
                </a:moveTo>
                <a:lnTo>
                  <a:pt x="249427" y="394970"/>
                </a:lnTo>
                <a:lnTo>
                  <a:pt x="260603" y="411225"/>
                </a:lnTo>
                <a:lnTo>
                  <a:pt x="260603" y="384175"/>
                </a:lnTo>
                <a:lnTo>
                  <a:pt x="271652" y="357124"/>
                </a:lnTo>
                <a:close/>
              </a:path>
              <a:path w="443864" h="433069">
                <a:moveTo>
                  <a:pt x="155194" y="373253"/>
                </a:moveTo>
                <a:lnTo>
                  <a:pt x="155194" y="384175"/>
                </a:lnTo>
                <a:lnTo>
                  <a:pt x="182880" y="394970"/>
                </a:lnTo>
                <a:lnTo>
                  <a:pt x="182880" y="384175"/>
                </a:lnTo>
                <a:lnTo>
                  <a:pt x="155194" y="373253"/>
                </a:lnTo>
                <a:close/>
              </a:path>
              <a:path w="443864" h="433069">
                <a:moveTo>
                  <a:pt x="232790" y="270510"/>
                </a:moveTo>
                <a:lnTo>
                  <a:pt x="155194" y="308356"/>
                </a:lnTo>
                <a:lnTo>
                  <a:pt x="210693" y="373253"/>
                </a:lnTo>
                <a:lnTo>
                  <a:pt x="260603" y="346201"/>
                </a:lnTo>
                <a:lnTo>
                  <a:pt x="232790" y="270510"/>
                </a:lnTo>
                <a:close/>
              </a:path>
              <a:path w="443864" h="433069">
                <a:moveTo>
                  <a:pt x="249427" y="0"/>
                </a:moveTo>
                <a:lnTo>
                  <a:pt x="182880" y="27050"/>
                </a:lnTo>
                <a:lnTo>
                  <a:pt x="127507" y="75692"/>
                </a:lnTo>
                <a:lnTo>
                  <a:pt x="49911" y="91948"/>
                </a:lnTo>
                <a:lnTo>
                  <a:pt x="11049" y="129794"/>
                </a:lnTo>
                <a:lnTo>
                  <a:pt x="38862" y="156845"/>
                </a:lnTo>
                <a:lnTo>
                  <a:pt x="77596" y="102743"/>
                </a:lnTo>
                <a:lnTo>
                  <a:pt x="155194" y="91948"/>
                </a:lnTo>
                <a:lnTo>
                  <a:pt x="218093" y="91948"/>
                </a:lnTo>
                <a:lnTo>
                  <a:pt x="249427"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1" name="bg object 61"/>
          <p:cNvPicPr/>
          <p:nvPr/>
        </p:nvPicPr>
        <p:blipFill>
          <a:blip r:embed="rId20" cstate="print"/>
          <a:stretch>
            <a:fillRect/>
          </a:stretch>
        </p:blipFill>
        <p:spPr>
          <a:xfrm>
            <a:off x="2499042" y="701992"/>
            <a:ext cx="291464" cy="203327"/>
          </a:xfrm>
          <a:prstGeom prst="rect">
            <a:avLst/>
          </a:prstGeom>
        </p:spPr>
      </p:pic>
      <p:sp>
        <p:nvSpPr>
          <p:cNvPr id="62" name="bg object 62"/>
          <p:cNvSpPr/>
          <p:nvPr/>
        </p:nvSpPr>
        <p:spPr>
          <a:xfrm>
            <a:off x="2345435" y="470915"/>
            <a:ext cx="271780" cy="411480"/>
          </a:xfrm>
          <a:custGeom>
            <a:avLst/>
            <a:gdLst/>
            <a:ahLst/>
            <a:cxnLst/>
            <a:rect l="l" t="t" r="r" b="b"/>
            <a:pathLst>
              <a:path w="271780" h="411480">
                <a:moveTo>
                  <a:pt x="127507" y="411225"/>
                </a:moveTo>
                <a:lnTo>
                  <a:pt x="66547" y="394970"/>
                </a:lnTo>
                <a:lnTo>
                  <a:pt x="49911" y="394970"/>
                </a:lnTo>
                <a:lnTo>
                  <a:pt x="49911" y="319150"/>
                </a:lnTo>
                <a:lnTo>
                  <a:pt x="0" y="308356"/>
                </a:lnTo>
                <a:lnTo>
                  <a:pt x="27686" y="254254"/>
                </a:lnTo>
                <a:lnTo>
                  <a:pt x="0" y="167767"/>
                </a:lnTo>
                <a:lnTo>
                  <a:pt x="38862" y="167767"/>
                </a:lnTo>
                <a:lnTo>
                  <a:pt x="155194" y="91948"/>
                </a:lnTo>
                <a:lnTo>
                  <a:pt x="77596" y="102743"/>
                </a:lnTo>
                <a:lnTo>
                  <a:pt x="38862" y="156845"/>
                </a:lnTo>
                <a:lnTo>
                  <a:pt x="11049" y="129794"/>
                </a:lnTo>
                <a:lnTo>
                  <a:pt x="49911" y="91948"/>
                </a:lnTo>
                <a:lnTo>
                  <a:pt x="127507" y="75692"/>
                </a:lnTo>
                <a:lnTo>
                  <a:pt x="182880" y="27050"/>
                </a:lnTo>
                <a:lnTo>
                  <a:pt x="249427" y="0"/>
                </a:lnTo>
                <a:lnTo>
                  <a:pt x="210693" y="113664"/>
                </a:lnTo>
                <a:lnTo>
                  <a:pt x="221741" y="167767"/>
                </a:lnTo>
                <a:lnTo>
                  <a:pt x="271652" y="178562"/>
                </a:lnTo>
                <a:lnTo>
                  <a:pt x="127507" y="308356"/>
                </a:lnTo>
                <a:lnTo>
                  <a:pt x="155194" y="384175"/>
                </a:lnTo>
                <a:lnTo>
                  <a:pt x="127507" y="411225"/>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3" name="bg object 63"/>
          <p:cNvPicPr/>
          <p:nvPr/>
        </p:nvPicPr>
        <p:blipFill>
          <a:blip r:embed="rId21" cstate="print"/>
          <a:stretch>
            <a:fillRect/>
          </a:stretch>
        </p:blipFill>
        <p:spPr>
          <a:xfrm>
            <a:off x="2043684" y="1083500"/>
            <a:ext cx="41986" cy="14668"/>
          </a:xfrm>
          <a:prstGeom prst="rect">
            <a:avLst/>
          </a:prstGeom>
        </p:spPr>
      </p:pic>
      <p:sp>
        <p:nvSpPr>
          <p:cNvPr id="64" name="bg object 64"/>
          <p:cNvSpPr/>
          <p:nvPr/>
        </p:nvSpPr>
        <p:spPr>
          <a:xfrm>
            <a:off x="2058923" y="1060703"/>
            <a:ext cx="27305" cy="10795"/>
          </a:xfrm>
          <a:custGeom>
            <a:avLst/>
            <a:gdLst/>
            <a:ahLst/>
            <a:cxnLst/>
            <a:rect l="l" t="t" r="r" b="b"/>
            <a:pathLst>
              <a:path w="27305" h="10794">
                <a:moveTo>
                  <a:pt x="27177" y="0"/>
                </a:moveTo>
                <a:lnTo>
                  <a:pt x="0" y="0"/>
                </a:lnTo>
                <a:lnTo>
                  <a:pt x="0" y="10668"/>
                </a:lnTo>
                <a:lnTo>
                  <a:pt x="27177"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bg object 65"/>
          <p:cNvSpPr/>
          <p:nvPr/>
        </p:nvSpPr>
        <p:spPr>
          <a:xfrm>
            <a:off x="2058923" y="1060703"/>
            <a:ext cx="38100" cy="10795"/>
          </a:xfrm>
          <a:custGeom>
            <a:avLst/>
            <a:gdLst/>
            <a:ahLst/>
            <a:cxnLst/>
            <a:rect l="l" t="t" r="r" b="b"/>
            <a:pathLst>
              <a:path w="38100" h="10794">
                <a:moveTo>
                  <a:pt x="27177" y="0"/>
                </a:moveTo>
                <a:lnTo>
                  <a:pt x="0" y="10668"/>
                </a:lnTo>
                <a:lnTo>
                  <a:pt x="0" y="0"/>
                </a:lnTo>
                <a:lnTo>
                  <a:pt x="38100" y="0"/>
                </a:lnTo>
                <a:lnTo>
                  <a:pt x="27177"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6" name="bg object 66"/>
          <p:cNvPicPr/>
          <p:nvPr/>
        </p:nvPicPr>
        <p:blipFill>
          <a:blip r:embed="rId22" cstate="print"/>
          <a:stretch>
            <a:fillRect/>
          </a:stretch>
        </p:blipFill>
        <p:spPr>
          <a:xfrm>
            <a:off x="1844039" y="1350264"/>
            <a:ext cx="98298" cy="29717"/>
          </a:xfrm>
          <a:prstGeom prst="rect">
            <a:avLst/>
          </a:prstGeom>
        </p:spPr>
      </p:pic>
      <p:sp>
        <p:nvSpPr>
          <p:cNvPr id="67" name="bg object 67"/>
          <p:cNvSpPr/>
          <p:nvPr/>
        </p:nvSpPr>
        <p:spPr>
          <a:xfrm>
            <a:off x="1859279" y="1327403"/>
            <a:ext cx="94615" cy="26034"/>
          </a:xfrm>
          <a:custGeom>
            <a:avLst/>
            <a:gdLst/>
            <a:ahLst/>
            <a:cxnLst/>
            <a:rect l="l" t="t" r="r" b="b"/>
            <a:pathLst>
              <a:path w="94614" h="26034">
                <a:moveTo>
                  <a:pt x="94487" y="0"/>
                </a:moveTo>
                <a:lnTo>
                  <a:pt x="0" y="0"/>
                </a:lnTo>
                <a:lnTo>
                  <a:pt x="55625" y="25908"/>
                </a:lnTo>
                <a:lnTo>
                  <a:pt x="94487"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bg object 68"/>
          <p:cNvSpPr/>
          <p:nvPr/>
        </p:nvSpPr>
        <p:spPr>
          <a:xfrm>
            <a:off x="1859279" y="1327403"/>
            <a:ext cx="94615" cy="26034"/>
          </a:xfrm>
          <a:custGeom>
            <a:avLst/>
            <a:gdLst/>
            <a:ahLst/>
            <a:cxnLst/>
            <a:rect l="l" t="t" r="r" b="b"/>
            <a:pathLst>
              <a:path w="94614" h="26034">
                <a:moveTo>
                  <a:pt x="0" y="0"/>
                </a:moveTo>
                <a:lnTo>
                  <a:pt x="44450" y="0"/>
                </a:lnTo>
                <a:lnTo>
                  <a:pt x="94487" y="0"/>
                </a:lnTo>
                <a:lnTo>
                  <a:pt x="55625" y="25908"/>
                </a:lnTo>
                <a:lnTo>
                  <a:pt x="0"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9" name="bg object 69"/>
          <p:cNvPicPr/>
          <p:nvPr/>
        </p:nvPicPr>
        <p:blipFill>
          <a:blip r:embed="rId23" cstate="print"/>
          <a:stretch>
            <a:fillRect/>
          </a:stretch>
        </p:blipFill>
        <p:spPr>
          <a:xfrm>
            <a:off x="1898904" y="1068311"/>
            <a:ext cx="342125" cy="366534"/>
          </a:xfrm>
          <a:prstGeom prst="rect">
            <a:avLst/>
          </a:prstGeom>
        </p:spPr>
      </p:pic>
      <p:sp>
        <p:nvSpPr>
          <p:cNvPr id="70" name="bg object 70"/>
          <p:cNvSpPr/>
          <p:nvPr/>
        </p:nvSpPr>
        <p:spPr>
          <a:xfrm>
            <a:off x="1914144" y="1045464"/>
            <a:ext cx="338455" cy="363220"/>
          </a:xfrm>
          <a:custGeom>
            <a:avLst/>
            <a:gdLst/>
            <a:ahLst/>
            <a:cxnLst/>
            <a:rect l="l" t="t" r="r" b="b"/>
            <a:pathLst>
              <a:path w="338455" h="363219">
                <a:moveTo>
                  <a:pt x="260731" y="0"/>
                </a:moveTo>
                <a:lnTo>
                  <a:pt x="171957" y="43307"/>
                </a:lnTo>
                <a:lnTo>
                  <a:pt x="116458" y="81152"/>
                </a:lnTo>
                <a:lnTo>
                  <a:pt x="105410" y="43307"/>
                </a:lnTo>
                <a:lnTo>
                  <a:pt x="66548" y="156972"/>
                </a:lnTo>
                <a:lnTo>
                  <a:pt x="0" y="259841"/>
                </a:lnTo>
                <a:lnTo>
                  <a:pt x="38862" y="281559"/>
                </a:lnTo>
                <a:lnTo>
                  <a:pt x="116458" y="270637"/>
                </a:lnTo>
                <a:lnTo>
                  <a:pt x="194182" y="308610"/>
                </a:lnTo>
                <a:lnTo>
                  <a:pt x="221869" y="362712"/>
                </a:lnTo>
                <a:lnTo>
                  <a:pt x="249555" y="221996"/>
                </a:lnTo>
                <a:lnTo>
                  <a:pt x="316103" y="167766"/>
                </a:lnTo>
                <a:lnTo>
                  <a:pt x="338328" y="43307"/>
                </a:lnTo>
                <a:lnTo>
                  <a:pt x="26073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bg object 71"/>
          <p:cNvSpPr/>
          <p:nvPr/>
        </p:nvSpPr>
        <p:spPr>
          <a:xfrm>
            <a:off x="1914144" y="1045464"/>
            <a:ext cx="338455" cy="363220"/>
          </a:xfrm>
          <a:custGeom>
            <a:avLst/>
            <a:gdLst/>
            <a:ahLst/>
            <a:cxnLst/>
            <a:rect l="l" t="t" r="r" b="b"/>
            <a:pathLst>
              <a:path w="338455" h="363219">
                <a:moveTo>
                  <a:pt x="338328" y="43307"/>
                </a:moveTo>
                <a:lnTo>
                  <a:pt x="316103" y="167766"/>
                </a:lnTo>
                <a:lnTo>
                  <a:pt x="249555" y="221996"/>
                </a:lnTo>
                <a:lnTo>
                  <a:pt x="221869" y="362712"/>
                </a:lnTo>
                <a:lnTo>
                  <a:pt x="194182" y="308610"/>
                </a:lnTo>
                <a:lnTo>
                  <a:pt x="116458" y="270637"/>
                </a:lnTo>
                <a:lnTo>
                  <a:pt x="38862" y="281559"/>
                </a:lnTo>
                <a:lnTo>
                  <a:pt x="0" y="259841"/>
                </a:lnTo>
                <a:lnTo>
                  <a:pt x="66548" y="156972"/>
                </a:lnTo>
                <a:lnTo>
                  <a:pt x="105410" y="43307"/>
                </a:lnTo>
                <a:lnTo>
                  <a:pt x="116458" y="81152"/>
                </a:lnTo>
                <a:lnTo>
                  <a:pt x="171957" y="43307"/>
                </a:lnTo>
                <a:lnTo>
                  <a:pt x="260731" y="0"/>
                </a:lnTo>
                <a:lnTo>
                  <a:pt x="338328" y="43307"/>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2" name="bg object 72"/>
          <p:cNvPicPr/>
          <p:nvPr/>
        </p:nvPicPr>
        <p:blipFill>
          <a:blip r:embed="rId24" cstate="print"/>
          <a:stretch>
            <a:fillRect/>
          </a:stretch>
        </p:blipFill>
        <p:spPr>
          <a:xfrm>
            <a:off x="3691127" y="227088"/>
            <a:ext cx="628650" cy="296405"/>
          </a:xfrm>
          <a:prstGeom prst="rect">
            <a:avLst/>
          </a:prstGeom>
        </p:spPr>
      </p:pic>
      <p:sp>
        <p:nvSpPr>
          <p:cNvPr id="73" name="bg object 73"/>
          <p:cNvSpPr/>
          <p:nvPr/>
        </p:nvSpPr>
        <p:spPr>
          <a:xfrm>
            <a:off x="3706367" y="204216"/>
            <a:ext cx="624840" cy="292735"/>
          </a:xfrm>
          <a:custGeom>
            <a:avLst/>
            <a:gdLst/>
            <a:ahLst/>
            <a:cxnLst/>
            <a:rect l="l" t="t" r="r" b="b"/>
            <a:pathLst>
              <a:path w="624839" h="292734">
                <a:moveTo>
                  <a:pt x="563824" y="216788"/>
                </a:moveTo>
                <a:lnTo>
                  <a:pt x="337312" y="216788"/>
                </a:lnTo>
                <a:lnTo>
                  <a:pt x="470027" y="292607"/>
                </a:lnTo>
                <a:lnTo>
                  <a:pt x="547370" y="292607"/>
                </a:lnTo>
                <a:lnTo>
                  <a:pt x="558546" y="254634"/>
                </a:lnTo>
                <a:lnTo>
                  <a:pt x="569595" y="227583"/>
                </a:lnTo>
                <a:lnTo>
                  <a:pt x="563824" y="216788"/>
                </a:lnTo>
                <a:close/>
              </a:path>
              <a:path w="624839" h="292734">
                <a:moveTo>
                  <a:pt x="414655" y="0"/>
                </a:moveTo>
                <a:lnTo>
                  <a:pt x="270891" y="21716"/>
                </a:lnTo>
                <a:lnTo>
                  <a:pt x="154812" y="59562"/>
                </a:lnTo>
                <a:lnTo>
                  <a:pt x="165862" y="151764"/>
                </a:lnTo>
                <a:lnTo>
                  <a:pt x="221234" y="189610"/>
                </a:lnTo>
                <a:lnTo>
                  <a:pt x="270891" y="189610"/>
                </a:lnTo>
                <a:lnTo>
                  <a:pt x="243332" y="254634"/>
                </a:lnTo>
                <a:lnTo>
                  <a:pt x="337312" y="216788"/>
                </a:lnTo>
                <a:lnTo>
                  <a:pt x="563824" y="216788"/>
                </a:lnTo>
                <a:lnTo>
                  <a:pt x="508762" y="113791"/>
                </a:lnTo>
                <a:lnTo>
                  <a:pt x="586105" y="86740"/>
                </a:lnTo>
                <a:lnTo>
                  <a:pt x="597154" y="59562"/>
                </a:lnTo>
                <a:lnTo>
                  <a:pt x="613791" y="48767"/>
                </a:lnTo>
                <a:lnTo>
                  <a:pt x="624840" y="37973"/>
                </a:lnTo>
                <a:lnTo>
                  <a:pt x="624840" y="21716"/>
                </a:lnTo>
                <a:lnTo>
                  <a:pt x="492125" y="21716"/>
                </a:lnTo>
                <a:lnTo>
                  <a:pt x="414655" y="0"/>
                </a:lnTo>
                <a:close/>
              </a:path>
              <a:path w="624839" h="292734">
                <a:moveTo>
                  <a:pt x="77470" y="151764"/>
                </a:moveTo>
                <a:lnTo>
                  <a:pt x="0" y="162559"/>
                </a:lnTo>
                <a:lnTo>
                  <a:pt x="38735" y="216788"/>
                </a:lnTo>
                <a:lnTo>
                  <a:pt x="116078" y="178815"/>
                </a:lnTo>
                <a:lnTo>
                  <a:pt x="77470" y="151764"/>
                </a:lnTo>
                <a:close/>
              </a:path>
              <a:path w="624839" h="292734">
                <a:moveTo>
                  <a:pt x="154812" y="140842"/>
                </a:moveTo>
                <a:lnTo>
                  <a:pt x="116078" y="140842"/>
                </a:lnTo>
                <a:lnTo>
                  <a:pt x="143764" y="151764"/>
                </a:lnTo>
                <a:lnTo>
                  <a:pt x="154812" y="140842"/>
                </a:lnTo>
                <a:close/>
              </a:path>
              <a:path w="624839" h="292734">
                <a:moveTo>
                  <a:pt x="88519" y="86740"/>
                </a:moveTo>
                <a:lnTo>
                  <a:pt x="22098" y="97535"/>
                </a:lnTo>
                <a:lnTo>
                  <a:pt x="60833" y="140842"/>
                </a:lnTo>
                <a:lnTo>
                  <a:pt x="116078" y="113791"/>
                </a:lnTo>
                <a:lnTo>
                  <a:pt x="88519" y="8674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4" name="bg object 74"/>
          <p:cNvPicPr/>
          <p:nvPr/>
        </p:nvPicPr>
        <p:blipFill>
          <a:blip r:embed="rId25" cstate="print"/>
          <a:stretch>
            <a:fillRect/>
          </a:stretch>
        </p:blipFill>
        <p:spPr>
          <a:xfrm>
            <a:off x="3704780" y="289369"/>
            <a:ext cx="157987" cy="133223"/>
          </a:xfrm>
          <a:prstGeom prst="rect">
            <a:avLst/>
          </a:prstGeom>
        </p:spPr>
      </p:pic>
      <p:sp>
        <p:nvSpPr>
          <p:cNvPr id="75" name="bg object 75"/>
          <p:cNvSpPr/>
          <p:nvPr/>
        </p:nvSpPr>
        <p:spPr>
          <a:xfrm>
            <a:off x="3861181" y="204216"/>
            <a:ext cx="470534" cy="292735"/>
          </a:xfrm>
          <a:custGeom>
            <a:avLst/>
            <a:gdLst/>
            <a:ahLst/>
            <a:cxnLst/>
            <a:rect l="l" t="t" r="r" b="b"/>
            <a:pathLst>
              <a:path w="470535" h="292734">
                <a:moveTo>
                  <a:pt x="431292" y="86740"/>
                </a:moveTo>
                <a:lnTo>
                  <a:pt x="353949" y="113791"/>
                </a:lnTo>
                <a:lnTo>
                  <a:pt x="414782" y="227583"/>
                </a:lnTo>
                <a:lnTo>
                  <a:pt x="403733" y="254634"/>
                </a:lnTo>
                <a:lnTo>
                  <a:pt x="392557" y="292607"/>
                </a:lnTo>
                <a:lnTo>
                  <a:pt x="315214" y="292607"/>
                </a:lnTo>
                <a:lnTo>
                  <a:pt x="182499" y="216788"/>
                </a:lnTo>
                <a:lnTo>
                  <a:pt x="88519" y="254634"/>
                </a:lnTo>
                <a:lnTo>
                  <a:pt x="116078" y="189610"/>
                </a:lnTo>
                <a:lnTo>
                  <a:pt x="66421" y="189610"/>
                </a:lnTo>
                <a:lnTo>
                  <a:pt x="11049" y="151764"/>
                </a:lnTo>
                <a:lnTo>
                  <a:pt x="0" y="59562"/>
                </a:lnTo>
                <a:lnTo>
                  <a:pt x="116078" y="21716"/>
                </a:lnTo>
                <a:lnTo>
                  <a:pt x="259842" y="0"/>
                </a:lnTo>
                <a:lnTo>
                  <a:pt x="337312" y="21716"/>
                </a:lnTo>
                <a:lnTo>
                  <a:pt x="458978" y="21716"/>
                </a:lnTo>
                <a:lnTo>
                  <a:pt x="470027" y="21716"/>
                </a:lnTo>
                <a:lnTo>
                  <a:pt x="470027" y="37973"/>
                </a:lnTo>
                <a:lnTo>
                  <a:pt x="458978" y="37973"/>
                </a:lnTo>
                <a:lnTo>
                  <a:pt x="470027" y="37973"/>
                </a:lnTo>
                <a:lnTo>
                  <a:pt x="458978" y="48767"/>
                </a:lnTo>
                <a:lnTo>
                  <a:pt x="442341" y="59562"/>
                </a:lnTo>
                <a:lnTo>
                  <a:pt x="431292" y="8674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6" name="bg object 76"/>
          <p:cNvPicPr/>
          <p:nvPr/>
        </p:nvPicPr>
        <p:blipFill>
          <a:blip r:embed="rId26" cstate="print"/>
          <a:stretch>
            <a:fillRect/>
          </a:stretch>
        </p:blipFill>
        <p:spPr>
          <a:xfrm>
            <a:off x="2176272" y="1891283"/>
            <a:ext cx="1186434" cy="1218438"/>
          </a:xfrm>
          <a:prstGeom prst="rect">
            <a:avLst/>
          </a:prstGeom>
        </p:spPr>
      </p:pic>
      <p:sp>
        <p:nvSpPr>
          <p:cNvPr id="77" name="bg object 77"/>
          <p:cNvSpPr/>
          <p:nvPr/>
        </p:nvSpPr>
        <p:spPr>
          <a:xfrm>
            <a:off x="2191512" y="1868423"/>
            <a:ext cx="1183005" cy="1214755"/>
          </a:xfrm>
          <a:custGeom>
            <a:avLst/>
            <a:gdLst/>
            <a:ahLst/>
            <a:cxnLst/>
            <a:rect l="l" t="t" r="r" b="b"/>
            <a:pathLst>
              <a:path w="1183004" h="1214755">
                <a:moveTo>
                  <a:pt x="613410" y="1046479"/>
                </a:moveTo>
                <a:lnTo>
                  <a:pt x="569213" y="1073658"/>
                </a:lnTo>
                <a:lnTo>
                  <a:pt x="779144" y="1203833"/>
                </a:lnTo>
                <a:lnTo>
                  <a:pt x="845565" y="1214627"/>
                </a:lnTo>
                <a:lnTo>
                  <a:pt x="856614" y="1176654"/>
                </a:lnTo>
                <a:lnTo>
                  <a:pt x="856614" y="1100709"/>
                </a:lnTo>
                <a:lnTo>
                  <a:pt x="872676" y="1073658"/>
                </a:lnTo>
                <a:lnTo>
                  <a:pt x="712851" y="1073658"/>
                </a:lnTo>
                <a:lnTo>
                  <a:pt x="613410" y="1046479"/>
                </a:lnTo>
                <a:close/>
              </a:path>
              <a:path w="1183004" h="1214755">
                <a:moveTo>
                  <a:pt x="895223" y="1035685"/>
                </a:moveTo>
                <a:lnTo>
                  <a:pt x="712851" y="1073658"/>
                </a:lnTo>
                <a:lnTo>
                  <a:pt x="872676" y="1073658"/>
                </a:lnTo>
                <a:lnTo>
                  <a:pt x="895223" y="1035685"/>
                </a:lnTo>
                <a:close/>
              </a:path>
              <a:path w="1183004" h="1214755">
                <a:moveTo>
                  <a:pt x="564293" y="319913"/>
                </a:moveTo>
                <a:lnTo>
                  <a:pt x="204469" y="319913"/>
                </a:lnTo>
                <a:lnTo>
                  <a:pt x="348106" y="368680"/>
                </a:lnTo>
                <a:lnTo>
                  <a:pt x="386842" y="471804"/>
                </a:lnTo>
                <a:lnTo>
                  <a:pt x="453136" y="547624"/>
                </a:lnTo>
                <a:lnTo>
                  <a:pt x="635507" y="704976"/>
                </a:lnTo>
                <a:lnTo>
                  <a:pt x="701801" y="704976"/>
                </a:lnTo>
                <a:lnTo>
                  <a:pt x="740537" y="742823"/>
                </a:lnTo>
                <a:lnTo>
                  <a:pt x="806831" y="764539"/>
                </a:lnTo>
                <a:lnTo>
                  <a:pt x="817880" y="818768"/>
                </a:lnTo>
                <a:lnTo>
                  <a:pt x="895223" y="829690"/>
                </a:lnTo>
                <a:lnTo>
                  <a:pt x="950468" y="986916"/>
                </a:lnTo>
                <a:lnTo>
                  <a:pt x="911860" y="997712"/>
                </a:lnTo>
                <a:lnTo>
                  <a:pt x="895223" y="1062736"/>
                </a:lnTo>
                <a:lnTo>
                  <a:pt x="939419" y="1073658"/>
                </a:lnTo>
                <a:lnTo>
                  <a:pt x="989202" y="1024889"/>
                </a:lnTo>
                <a:lnTo>
                  <a:pt x="989202" y="986916"/>
                </a:lnTo>
                <a:lnTo>
                  <a:pt x="1038987" y="970661"/>
                </a:lnTo>
                <a:lnTo>
                  <a:pt x="1038987" y="905510"/>
                </a:lnTo>
                <a:lnTo>
                  <a:pt x="989202" y="883920"/>
                </a:lnTo>
                <a:lnTo>
                  <a:pt x="1038987" y="780796"/>
                </a:lnTo>
                <a:lnTo>
                  <a:pt x="1145261" y="780796"/>
                </a:lnTo>
                <a:lnTo>
                  <a:pt x="1132839" y="764539"/>
                </a:lnTo>
                <a:lnTo>
                  <a:pt x="922908" y="677799"/>
                </a:lnTo>
                <a:lnTo>
                  <a:pt x="936678" y="623570"/>
                </a:lnTo>
                <a:lnTo>
                  <a:pt x="845565" y="623570"/>
                </a:lnTo>
                <a:lnTo>
                  <a:pt x="740537" y="536828"/>
                </a:lnTo>
                <a:lnTo>
                  <a:pt x="701801" y="433831"/>
                </a:lnTo>
                <a:lnTo>
                  <a:pt x="647196" y="395859"/>
                </a:lnTo>
                <a:lnTo>
                  <a:pt x="585724" y="395859"/>
                </a:lnTo>
                <a:lnTo>
                  <a:pt x="569213" y="384937"/>
                </a:lnTo>
                <a:lnTo>
                  <a:pt x="585724" y="368680"/>
                </a:lnTo>
                <a:lnTo>
                  <a:pt x="608113" y="368680"/>
                </a:lnTo>
                <a:lnTo>
                  <a:pt x="569213" y="341629"/>
                </a:lnTo>
                <a:lnTo>
                  <a:pt x="564293" y="319913"/>
                </a:lnTo>
                <a:close/>
              </a:path>
              <a:path w="1183004" h="1214755">
                <a:moveTo>
                  <a:pt x="154686" y="742823"/>
                </a:moveTo>
                <a:lnTo>
                  <a:pt x="182371" y="802513"/>
                </a:lnTo>
                <a:lnTo>
                  <a:pt x="182371" y="959738"/>
                </a:lnTo>
                <a:lnTo>
                  <a:pt x="221106" y="970661"/>
                </a:lnTo>
                <a:lnTo>
                  <a:pt x="243205" y="932688"/>
                </a:lnTo>
                <a:lnTo>
                  <a:pt x="298450" y="932688"/>
                </a:lnTo>
                <a:lnTo>
                  <a:pt x="326008" y="780796"/>
                </a:lnTo>
                <a:lnTo>
                  <a:pt x="310240" y="753745"/>
                </a:lnTo>
                <a:lnTo>
                  <a:pt x="193420" y="753745"/>
                </a:lnTo>
                <a:lnTo>
                  <a:pt x="154686" y="742823"/>
                </a:lnTo>
                <a:close/>
              </a:path>
              <a:path w="1183004" h="1214755">
                <a:moveTo>
                  <a:pt x="1145261" y="780796"/>
                </a:moveTo>
                <a:lnTo>
                  <a:pt x="1038987" y="780796"/>
                </a:lnTo>
                <a:lnTo>
                  <a:pt x="1121790" y="802513"/>
                </a:lnTo>
                <a:lnTo>
                  <a:pt x="1171575" y="867537"/>
                </a:lnTo>
                <a:lnTo>
                  <a:pt x="1182624" y="829690"/>
                </a:lnTo>
                <a:lnTo>
                  <a:pt x="1145261" y="780796"/>
                </a:lnTo>
                <a:close/>
              </a:path>
              <a:path w="1183004" h="1214755">
                <a:moveTo>
                  <a:pt x="281813" y="704976"/>
                </a:moveTo>
                <a:lnTo>
                  <a:pt x="193420" y="753745"/>
                </a:lnTo>
                <a:lnTo>
                  <a:pt x="310240" y="753745"/>
                </a:lnTo>
                <a:lnTo>
                  <a:pt x="281813" y="704976"/>
                </a:lnTo>
                <a:close/>
              </a:path>
              <a:path w="1183004" h="1214755">
                <a:moveTo>
                  <a:pt x="939419" y="612775"/>
                </a:moveTo>
                <a:lnTo>
                  <a:pt x="845565" y="623570"/>
                </a:lnTo>
                <a:lnTo>
                  <a:pt x="936678" y="623570"/>
                </a:lnTo>
                <a:lnTo>
                  <a:pt x="939419" y="612775"/>
                </a:lnTo>
                <a:close/>
              </a:path>
              <a:path w="1183004" h="1214755">
                <a:moveTo>
                  <a:pt x="138175" y="102997"/>
                </a:moveTo>
                <a:lnTo>
                  <a:pt x="127126" y="140970"/>
                </a:lnTo>
                <a:lnTo>
                  <a:pt x="38735" y="140970"/>
                </a:lnTo>
                <a:lnTo>
                  <a:pt x="49783" y="200660"/>
                </a:lnTo>
                <a:lnTo>
                  <a:pt x="0" y="243966"/>
                </a:lnTo>
                <a:lnTo>
                  <a:pt x="38735" y="281939"/>
                </a:lnTo>
                <a:lnTo>
                  <a:pt x="38735" y="341629"/>
                </a:lnTo>
                <a:lnTo>
                  <a:pt x="99440" y="357886"/>
                </a:lnTo>
                <a:lnTo>
                  <a:pt x="88392" y="395859"/>
                </a:lnTo>
                <a:lnTo>
                  <a:pt x="154686" y="384937"/>
                </a:lnTo>
                <a:lnTo>
                  <a:pt x="204469" y="319913"/>
                </a:lnTo>
                <a:lnTo>
                  <a:pt x="564293" y="319913"/>
                </a:lnTo>
                <a:lnTo>
                  <a:pt x="558164" y="292862"/>
                </a:lnTo>
                <a:lnTo>
                  <a:pt x="585724" y="254888"/>
                </a:lnTo>
                <a:lnTo>
                  <a:pt x="547115" y="216915"/>
                </a:lnTo>
                <a:lnTo>
                  <a:pt x="652144" y="162687"/>
                </a:lnTo>
                <a:lnTo>
                  <a:pt x="693207" y="162687"/>
                </a:lnTo>
                <a:lnTo>
                  <a:pt x="681142" y="124713"/>
                </a:lnTo>
                <a:lnTo>
                  <a:pt x="221106" y="124713"/>
                </a:lnTo>
                <a:lnTo>
                  <a:pt x="138175" y="102997"/>
                </a:lnTo>
                <a:close/>
              </a:path>
              <a:path w="1183004" h="1214755">
                <a:moveTo>
                  <a:pt x="608113" y="368680"/>
                </a:moveTo>
                <a:lnTo>
                  <a:pt x="585724" y="368680"/>
                </a:lnTo>
                <a:lnTo>
                  <a:pt x="585724" y="395859"/>
                </a:lnTo>
                <a:lnTo>
                  <a:pt x="647196" y="395859"/>
                </a:lnTo>
                <a:lnTo>
                  <a:pt x="608113" y="368680"/>
                </a:lnTo>
                <a:close/>
              </a:path>
              <a:path w="1183004" h="1214755">
                <a:moveTo>
                  <a:pt x="693207" y="162687"/>
                </a:moveTo>
                <a:lnTo>
                  <a:pt x="652144" y="162687"/>
                </a:lnTo>
                <a:lnTo>
                  <a:pt x="701801" y="189737"/>
                </a:lnTo>
                <a:lnTo>
                  <a:pt x="693207" y="162687"/>
                </a:lnTo>
                <a:close/>
              </a:path>
              <a:path w="1183004" h="1214755">
                <a:moveTo>
                  <a:pt x="259714" y="75946"/>
                </a:moveTo>
                <a:lnTo>
                  <a:pt x="221106" y="124713"/>
                </a:lnTo>
                <a:lnTo>
                  <a:pt x="681142" y="124713"/>
                </a:lnTo>
                <a:lnTo>
                  <a:pt x="674243" y="102997"/>
                </a:lnTo>
                <a:lnTo>
                  <a:pt x="690804" y="86740"/>
                </a:lnTo>
                <a:lnTo>
                  <a:pt x="337057" y="86740"/>
                </a:lnTo>
                <a:lnTo>
                  <a:pt x="259714" y="75946"/>
                </a:lnTo>
                <a:close/>
              </a:path>
              <a:path w="1183004" h="1214755">
                <a:moveTo>
                  <a:pt x="558164" y="0"/>
                </a:moveTo>
                <a:lnTo>
                  <a:pt x="386842" y="37973"/>
                </a:lnTo>
                <a:lnTo>
                  <a:pt x="375793" y="59689"/>
                </a:lnTo>
                <a:lnTo>
                  <a:pt x="337057" y="86740"/>
                </a:lnTo>
                <a:lnTo>
                  <a:pt x="690804" y="86740"/>
                </a:lnTo>
                <a:lnTo>
                  <a:pt x="701801" y="75946"/>
                </a:lnTo>
                <a:lnTo>
                  <a:pt x="569213" y="48767"/>
                </a:lnTo>
                <a:lnTo>
                  <a:pt x="558164"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bg object 78"/>
          <p:cNvSpPr/>
          <p:nvPr/>
        </p:nvSpPr>
        <p:spPr>
          <a:xfrm>
            <a:off x="2191512" y="1868423"/>
            <a:ext cx="1183005" cy="1214755"/>
          </a:xfrm>
          <a:custGeom>
            <a:avLst/>
            <a:gdLst/>
            <a:ahLst/>
            <a:cxnLst/>
            <a:rect l="l" t="t" r="r" b="b"/>
            <a:pathLst>
              <a:path w="1183004" h="1214755">
                <a:moveTo>
                  <a:pt x="569213" y="1073658"/>
                </a:moveTo>
                <a:lnTo>
                  <a:pt x="613410" y="1046479"/>
                </a:lnTo>
                <a:lnTo>
                  <a:pt x="712851" y="1073658"/>
                </a:lnTo>
                <a:lnTo>
                  <a:pt x="895223" y="1035685"/>
                </a:lnTo>
                <a:lnTo>
                  <a:pt x="856614" y="1100709"/>
                </a:lnTo>
                <a:lnTo>
                  <a:pt x="856614" y="1176654"/>
                </a:lnTo>
                <a:lnTo>
                  <a:pt x="845565" y="1214627"/>
                </a:lnTo>
                <a:lnTo>
                  <a:pt x="779144" y="1203833"/>
                </a:lnTo>
                <a:lnTo>
                  <a:pt x="569213" y="1073658"/>
                </a:lnTo>
                <a:close/>
              </a:path>
              <a:path w="1183004" h="1214755">
                <a:moveTo>
                  <a:pt x="281813" y="704976"/>
                </a:moveTo>
                <a:lnTo>
                  <a:pt x="326008" y="780796"/>
                </a:lnTo>
                <a:lnTo>
                  <a:pt x="298450" y="932688"/>
                </a:lnTo>
                <a:lnTo>
                  <a:pt x="243205" y="932688"/>
                </a:lnTo>
                <a:lnTo>
                  <a:pt x="221106" y="970661"/>
                </a:lnTo>
                <a:lnTo>
                  <a:pt x="182371" y="959738"/>
                </a:lnTo>
                <a:lnTo>
                  <a:pt x="182371" y="802513"/>
                </a:lnTo>
                <a:lnTo>
                  <a:pt x="154686" y="742823"/>
                </a:lnTo>
                <a:lnTo>
                  <a:pt x="193420" y="753745"/>
                </a:lnTo>
                <a:lnTo>
                  <a:pt x="281813" y="704976"/>
                </a:lnTo>
                <a:close/>
              </a:path>
              <a:path w="1183004" h="1214755">
                <a:moveTo>
                  <a:pt x="88392" y="395859"/>
                </a:moveTo>
                <a:lnTo>
                  <a:pt x="99440" y="357886"/>
                </a:lnTo>
                <a:lnTo>
                  <a:pt x="38735" y="341629"/>
                </a:lnTo>
                <a:lnTo>
                  <a:pt x="38735" y="281939"/>
                </a:lnTo>
                <a:lnTo>
                  <a:pt x="0" y="243966"/>
                </a:lnTo>
                <a:lnTo>
                  <a:pt x="49783" y="200660"/>
                </a:lnTo>
                <a:lnTo>
                  <a:pt x="38735" y="140970"/>
                </a:lnTo>
                <a:lnTo>
                  <a:pt x="127126" y="140970"/>
                </a:lnTo>
                <a:lnTo>
                  <a:pt x="138175" y="102997"/>
                </a:lnTo>
                <a:lnTo>
                  <a:pt x="221106" y="124713"/>
                </a:lnTo>
                <a:lnTo>
                  <a:pt x="259714" y="75946"/>
                </a:lnTo>
                <a:lnTo>
                  <a:pt x="337057" y="86740"/>
                </a:lnTo>
                <a:lnTo>
                  <a:pt x="375793" y="59689"/>
                </a:lnTo>
                <a:lnTo>
                  <a:pt x="386842" y="37973"/>
                </a:lnTo>
                <a:lnTo>
                  <a:pt x="558164" y="0"/>
                </a:lnTo>
                <a:lnTo>
                  <a:pt x="569213" y="48767"/>
                </a:lnTo>
                <a:lnTo>
                  <a:pt x="701801" y="75946"/>
                </a:lnTo>
                <a:lnTo>
                  <a:pt x="674243" y="102997"/>
                </a:lnTo>
                <a:lnTo>
                  <a:pt x="701801" y="189737"/>
                </a:lnTo>
                <a:lnTo>
                  <a:pt x="652144" y="162687"/>
                </a:lnTo>
                <a:lnTo>
                  <a:pt x="547115" y="216915"/>
                </a:lnTo>
                <a:lnTo>
                  <a:pt x="585724" y="254888"/>
                </a:lnTo>
                <a:lnTo>
                  <a:pt x="558164" y="292862"/>
                </a:lnTo>
                <a:lnTo>
                  <a:pt x="569213" y="341629"/>
                </a:lnTo>
                <a:lnTo>
                  <a:pt x="701801" y="433831"/>
                </a:lnTo>
                <a:lnTo>
                  <a:pt x="740537" y="536828"/>
                </a:lnTo>
                <a:lnTo>
                  <a:pt x="845565" y="623570"/>
                </a:lnTo>
                <a:lnTo>
                  <a:pt x="939419" y="612775"/>
                </a:lnTo>
                <a:lnTo>
                  <a:pt x="922908" y="677799"/>
                </a:lnTo>
                <a:lnTo>
                  <a:pt x="1132839" y="764539"/>
                </a:lnTo>
                <a:lnTo>
                  <a:pt x="1182624" y="829690"/>
                </a:lnTo>
                <a:lnTo>
                  <a:pt x="1171575" y="867537"/>
                </a:lnTo>
                <a:lnTo>
                  <a:pt x="1121790" y="802513"/>
                </a:lnTo>
                <a:lnTo>
                  <a:pt x="1038987" y="780796"/>
                </a:lnTo>
                <a:lnTo>
                  <a:pt x="989202" y="883920"/>
                </a:lnTo>
                <a:lnTo>
                  <a:pt x="1038987" y="905510"/>
                </a:lnTo>
                <a:lnTo>
                  <a:pt x="1038987" y="970661"/>
                </a:lnTo>
                <a:lnTo>
                  <a:pt x="989202" y="986916"/>
                </a:lnTo>
                <a:lnTo>
                  <a:pt x="989202" y="1024889"/>
                </a:lnTo>
                <a:lnTo>
                  <a:pt x="939419" y="1073658"/>
                </a:lnTo>
                <a:lnTo>
                  <a:pt x="895223" y="1062736"/>
                </a:lnTo>
                <a:lnTo>
                  <a:pt x="911860" y="997712"/>
                </a:lnTo>
                <a:lnTo>
                  <a:pt x="950468" y="986916"/>
                </a:lnTo>
                <a:lnTo>
                  <a:pt x="895223" y="829690"/>
                </a:lnTo>
                <a:lnTo>
                  <a:pt x="817880" y="818768"/>
                </a:lnTo>
                <a:lnTo>
                  <a:pt x="806831" y="764539"/>
                </a:lnTo>
                <a:lnTo>
                  <a:pt x="740537" y="742823"/>
                </a:lnTo>
                <a:lnTo>
                  <a:pt x="701801" y="704976"/>
                </a:lnTo>
                <a:lnTo>
                  <a:pt x="635507" y="704976"/>
                </a:lnTo>
                <a:lnTo>
                  <a:pt x="453136" y="547624"/>
                </a:lnTo>
                <a:lnTo>
                  <a:pt x="386842" y="471804"/>
                </a:lnTo>
                <a:lnTo>
                  <a:pt x="348106" y="368680"/>
                </a:lnTo>
                <a:lnTo>
                  <a:pt x="204469" y="319913"/>
                </a:lnTo>
                <a:lnTo>
                  <a:pt x="154686" y="384937"/>
                </a:lnTo>
                <a:lnTo>
                  <a:pt x="88392" y="395859"/>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9" name="bg object 79"/>
          <p:cNvPicPr/>
          <p:nvPr/>
        </p:nvPicPr>
        <p:blipFill>
          <a:blip r:embed="rId27" cstate="print"/>
          <a:stretch>
            <a:fillRect/>
          </a:stretch>
        </p:blipFill>
        <p:spPr>
          <a:xfrm>
            <a:off x="2933700" y="3182094"/>
            <a:ext cx="25145" cy="31132"/>
          </a:xfrm>
          <a:prstGeom prst="rect">
            <a:avLst/>
          </a:prstGeom>
        </p:spPr>
      </p:pic>
      <p:sp>
        <p:nvSpPr>
          <p:cNvPr id="80" name="bg object 80"/>
          <p:cNvSpPr/>
          <p:nvPr/>
        </p:nvSpPr>
        <p:spPr>
          <a:xfrm>
            <a:off x="2948939" y="3159251"/>
            <a:ext cx="21590" cy="27940"/>
          </a:xfrm>
          <a:custGeom>
            <a:avLst/>
            <a:gdLst/>
            <a:ahLst/>
            <a:cxnLst/>
            <a:rect l="l" t="t" r="r" b="b"/>
            <a:pathLst>
              <a:path w="21589" h="27939">
                <a:moveTo>
                  <a:pt x="0" y="0"/>
                </a:moveTo>
                <a:lnTo>
                  <a:pt x="10668" y="27432"/>
                </a:lnTo>
                <a:lnTo>
                  <a:pt x="21336" y="27432"/>
                </a:lnTo>
                <a:lnTo>
                  <a:pt x="21336" y="16510"/>
                </a:lnTo>
                <a:lnTo>
                  <a:pt x="0"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bg object 81"/>
          <p:cNvSpPr/>
          <p:nvPr/>
        </p:nvSpPr>
        <p:spPr>
          <a:xfrm>
            <a:off x="2948939" y="3159251"/>
            <a:ext cx="21590" cy="27940"/>
          </a:xfrm>
          <a:custGeom>
            <a:avLst/>
            <a:gdLst/>
            <a:ahLst/>
            <a:cxnLst/>
            <a:rect l="l" t="t" r="r" b="b"/>
            <a:pathLst>
              <a:path w="21589" h="27939">
                <a:moveTo>
                  <a:pt x="0" y="0"/>
                </a:moveTo>
                <a:lnTo>
                  <a:pt x="21336" y="16510"/>
                </a:lnTo>
                <a:lnTo>
                  <a:pt x="21336" y="27432"/>
                </a:lnTo>
                <a:lnTo>
                  <a:pt x="10668" y="27432"/>
                </a:lnTo>
                <a:lnTo>
                  <a:pt x="0"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82" name="bg object 82"/>
          <p:cNvPicPr/>
          <p:nvPr/>
        </p:nvPicPr>
        <p:blipFill>
          <a:blip r:embed="rId28" cstate="print"/>
          <a:stretch>
            <a:fillRect/>
          </a:stretch>
        </p:blipFill>
        <p:spPr>
          <a:xfrm>
            <a:off x="2121407" y="888491"/>
            <a:ext cx="893826" cy="991362"/>
          </a:xfrm>
          <a:prstGeom prst="rect">
            <a:avLst/>
          </a:prstGeom>
        </p:spPr>
      </p:pic>
      <p:sp>
        <p:nvSpPr>
          <p:cNvPr id="83" name="bg object 83"/>
          <p:cNvSpPr/>
          <p:nvPr/>
        </p:nvSpPr>
        <p:spPr>
          <a:xfrm>
            <a:off x="2136647" y="865631"/>
            <a:ext cx="890269" cy="988060"/>
          </a:xfrm>
          <a:custGeom>
            <a:avLst/>
            <a:gdLst/>
            <a:ahLst/>
            <a:cxnLst/>
            <a:rect l="l" t="t" r="r" b="b"/>
            <a:pathLst>
              <a:path w="890269" h="988060">
                <a:moveTo>
                  <a:pt x="679957" y="911605"/>
                </a:moveTo>
                <a:lnTo>
                  <a:pt x="298576" y="911605"/>
                </a:lnTo>
                <a:lnTo>
                  <a:pt x="364870" y="949578"/>
                </a:lnTo>
                <a:lnTo>
                  <a:pt x="403606" y="987551"/>
                </a:lnTo>
                <a:lnTo>
                  <a:pt x="431164" y="949578"/>
                </a:lnTo>
                <a:lnTo>
                  <a:pt x="536895" y="949578"/>
                </a:lnTo>
                <a:lnTo>
                  <a:pt x="602614" y="922401"/>
                </a:lnTo>
                <a:lnTo>
                  <a:pt x="683099" y="922401"/>
                </a:lnTo>
                <a:lnTo>
                  <a:pt x="679957" y="911605"/>
                </a:lnTo>
                <a:close/>
              </a:path>
              <a:path w="890269" h="988060">
                <a:moveTo>
                  <a:pt x="536895" y="949578"/>
                </a:moveTo>
                <a:lnTo>
                  <a:pt x="431164" y="949578"/>
                </a:lnTo>
                <a:lnTo>
                  <a:pt x="497585" y="965834"/>
                </a:lnTo>
                <a:lnTo>
                  <a:pt x="536895" y="949578"/>
                </a:lnTo>
                <a:close/>
              </a:path>
              <a:path w="890269" h="988060">
                <a:moveTo>
                  <a:pt x="683099" y="922401"/>
                </a:moveTo>
                <a:lnTo>
                  <a:pt x="602614" y="922401"/>
                </a:lnTo>
                <a:lnTo>
                  <a:pt x="691007" y="949578"/>
                </a:lnTo>
                <a:lnTo>
                  <a:pt x="683099" y="922401"/>
                </a:lnTo>
                <a:close/>
              </a:path>
              <a:path w="890269" h="988060">
                <a:moveTo>
                  <a:pt x="132714" y="157352"/>
                </a:moveTo>
                <a:lnTo>
                  <a:pt x="116077" y="222503"/>
                </a:lnTo>
                <a:lnTo>
                  <a:pt x="93979" y="347217"/>
                </a:lnTo>
                <a:lnTo>
                  <a:pt x="27685" y="401573"/>
                </a:lnTo>
                <a:lnTo>
                  <a:pt x="0" y="542670"/>
                </a:lnTo>
                <a:lnTo>
                  <a:pt x="27685" y="602360"/>
                </a:lnTo>
                <a:lnTo>
                  <a:pt x="0" y="629412"/>
                </a:lnTo>
                <a:lnTo>
                  <a:pt x="38734" y="667384"/>
                </a:lnTo>
                <a:lnTo>
                  <a:pt x="27685" y="705357"/>
                </a:lnTo>
                <a:lnTo>
                  <a:pt x="77343" y="743330"/>
                </a:lnTo>
                <a:lnTo>
                  <a:pt x="210057" y="770508"/>
                </a:lnTo>
                <a:lnTo>
                  <a:pt x="154812" y="873632"/>
                </a:lnTo>
                <a:lnTo>
                  <a:pt x="154812" y="938656"/>
                </a:lnTo>
                <a:lnTo>
                  <a:pt x="315087" y="938656"/>
                </a:lnTo>
                <a:lnTo>
                  <a:pt x="298576" y="911605"/>
                </a:lnTo>
                <a:lnTo>
                  <a:pt x="679957" y="911605"/>
                </a:lnTo>
                <a:lnTo>
                  <a:pt x="668908" y="873632"/>
                </a:lnTo>
                <a:lnTo>
                  <a:pt x="757301" y="835659"/>
                </a:lnTo>
                <a:lnTo>
                  <a:pt x="768350" y="797687"/>
                </a:lnTo>
                <a:lnTo>
                  <a:pt x="624713" y="683640"/>
                </a:lnTo>
                <a:lnTo>
                  <a:pt x="641222" y="591438"/>
                </a:lnTo>
                <a:lnTo>
                  <a:pt x="823721" y="526288"/>
                </a:lnTo>
                <a:lnTo>
                  <a:pt x="873378" y="526288"/>
                </a:lnTo>
                <a:lnTo>
                  <a:pt x="890015" y="477519"/>
                </a:lnTo>
                <a:lnTo>
                  <a:pt x="851281" y="412368"/>
                </a:lnTo>
                <a:lnTo>
                  <a:pt x="851281" y="309244"/>
                </a:lnTo>
                <a:lnTo>
                  <a:pt x="796035" y="271271"/>
                </a:lnTo>
                <a:lnTo>
                  <a:pt x="834770" y="222503"/>
                </a:lnTo>
                <a:lnTo>
                  <a:pt x="820038" y="179069"/>
                </a:lnTo>
                <a:lnTo>
                  <a:pt x="248793" y="179069"/>
                </a:lnTo>
                <a:lnTo>
                  <a:pt x="132714" y="157352"/>
                </a:lnTo>
                <a:close/>
              </a:path>
              <a:path w="890269" h="988060">
                <a:moveTo>
                  <a:pt x="276351" y="0"/>
                </a:moveTo>
                <a:lnTo>
                  <a:pt x="259841" y="0"/>
                </a:lnTo>
                <a:lnTo>
                  <a:pt x="248793" y="27177"/>
                </a:lnTo>
                <a:lnTo>
                  <a:pt x="287400" y="130175"/>
                </a:lnTo>
                <a:lnTo>
                  <a:pt x="248793" y="179069"/>
                </a:lnTo>
                <a:lnTo>
                  <a:pt x="820038" y="179069"/>
                </a:lnTo>
                <a:lnTo>
                  <a:pt x="812672" y="157352"/>
                </a:lnTo>
                <a:lnTo>
                  <a:pt x="768350" y="141096"/>
                </a:lnTo>
                <a:lnTo>
                  <a:pt x="767179" y="130175"/>
                </a:lnTo>
                <a:lnTo>
                  <a:pt x="536194" y="130175"/>
                </a:lnTo>
                <a:lnTo>
                  <a:pt x="469900" y="119379"/>
                </a:lnTo>
                <a:lnTo>
                  <a:pt x="469900" y="81406"/>
                </a:lnTo>
                <a:lnTo>
                  <a:pt x="403606" y="54228"/>
                </a:lnTo>
                <a:lnTo>
                  <a:pt x="392429" y="16255"/>
                </a:lnTo>
                <a:lnTo>
                  <a:pt x="337184" y="16255"/>
                </a:lnTo>
                <a:lnTo>
                  <a:pt x="276351" y="0"/>
                </a:lnTo>
                <a:close/>
              </a:path>
              <a:path w="890269" h="988060">
                <a:moveTo>
                  <a:pt x="768350" y="92201"/>
                </a:moveTo>
                <a:lnTo>
                  <a:pt x="812672" y="141096"/>
                </a:lnTo>
                <a:lnTo>
                  <a:pt x="812672" y="130175"/>
                </a:lnTo>
                <a:lnTo>
                  <a:pt x="768350" y="92201"/>
                </a:lnTo>
                <a:close/>
              </a:path>
              <a:path w="890269" h="988060">
                <a:moveTo>
                  <a:pt x="641222" y="54228"/>
                </a:moveTo>
                <a:lnTo>
                  <a:pt x="536194" y="130175"/>
                </a:lnTo>
                <a:lnTo>
                  <a:pt x="767179" y="130175"/>
                </a:lnTo>
                <a:lnTo>
                  <a:pt x="761954" y="81406"/>
                </a:lnTo>
                <a:lnTo>
                  <a:pt x="707644" y="81406"/>
                </a:lnTo>
                <a:lnTo>
                  <a:pt x="641222" y="54228"/>
                </a:lnTo>
                <a:close/>
              </a:path>
              <a:path w="890269" h="988060">
                <a:moveTo>
                  <a:pt x="718693" y="27177"/>
                </a:moveTo>
                <a:lnTo>
                  <a:pt x="707644" y="81406"/>
                </a:lnTo>
                <a:lnTo>
                  <a:pt x="761954" y="81406"/>
                </a:lnTo>
                <a:lnTo>
                  <a:pt x="757301" y="37972"/>
                </a:lnTo>
                <a:lnTo>
                  <a:pt x="718693" y="27177"/>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84" name="bg object 84"/>
          <p:cNvPicPr/>
          <p:nvPr/>
        </p:nvPicPr>
        <p:blipFill>
          <a:blip r:embed="rId29" cstate="print"/>
          <a:stretch>
            <a:fillRect/>
          </a:stretch>
        </p:blipFill>
        <p:spPr>
          <a:xfrm>
            <a:off x="4730496" y="3273504"/>
            <a:ext cx="176022" cy="69388"/>
          </a:xfrm>
          <a:prstGeom prst="rect">
            <a:avLst/>
          </a:prstGeom>
        </p:spPr>
      </p:pic>
      <p:sp>
        <p:nvSpPr>
          <p:cNvPr id="85" name="bg object 85"/>
          <p:cNvSpPr/>
          <p:nvPr/>
        </p:nvSpPr>
        <p:spPr>
          <a:xfrm>
            <a:off x="2136647" y="865631"/>
            <a:ext cx="890269" cy="988060"/>
          </a:xfrm>
          <a:custGeom>
            <a:avLst/>
            <a:gdLst/>
            <a:ahLst/>
            <a:cxnLst/>
            <a:rect l="l" t="t" r="r" b="b"/>
            <a:pathLst>
              <a:path w="890269" h="988060">
                <a:moveTo>
                  <a:pt x="116077" y="222503"/>
                </a:moveTo>
                <a:lnTo>
                  <a:pt x="132714" y="157352"/>
                </a:lnTo>
                <a:lnTo>
                  <a:pt x="248793" y="179069"/>
                </a:lnTo>
                <a:lnTo>
                  <a:pt x="287400" y="130175"/>
                </a:lnTo>
                <a:lnTo>
                  <a:pt x="248793" y="27177"/>
                </a:lnTo>
                <a:lnTo>
                  <a:pt x="259841" y="0"/>
                </a:lnTo>
                <a:lnTo>
                  <a:pt x="276351" y="0"/>
                </a:lnTo>
                <a:lnTo>
                  <a:pt x="337184" y="16255"/>
                </a:lnTo>
                <a:lnTo>
                  <a:pt x="392429" y="16255"/>
                </a:lnTo>
                <a:lnTo>
                  <a:pt x="403606" y="54228"/>
                </a:lnTo>
                <a:lnTo>
                  <a:pt x="469900" y="81406"/>
                </a:lnTo>
                <a:lnTo>
                  <a:pt x="469900" y="119379"/>
                </a:lnTo>
                <a:lnTo>
                  <a:pt x="536194" y="130175"/>
                </a:lnTo>
                <a:lnTo>
                  <a:pt x="641222" y="54228"/>
                </a:lnTo>
                <a:lnTo>
                  <a:pt x="707644" y="81406"/>
                </a:lnTo>
                <a:lnTo>
                  <a:pt x="718693" y="27177"/>
                </a:lnTo>
                <a:lnTo>
                  <a:pt x="757301" y="37972"/>
                </a:lnTo>
                <a:lnTo>
                  <a:pt x="768350" y="141096"/>
                </a:lnTo>
                <a:lnTo>
                  <a:pt x="812672" y="157352"/>
                </a:lnTo>
                <a:lnTo>
                  <a:pt x="834770" y="222503"/>
                </a:lnTo>
                <a:lnTo>
                  <a:pt x="796035" y="271271"/>
                </a:lnTo>
                <a:lnTo>
                  <a:pt x="851281" y="309244"/>
                </a:lnTo>
                <a:lnTo>
                  <a:pt x="851281" y="412368"/>
                </a:lnTo>
                <a:lnTo>
                  <a:pt x="890015" y="477519"/>
                </a:lnTo>
                <a:lnTo>
                  <a:pt x="873378" y="526288"/>
                </a:lnTo>
                <a:lnTo>
                  <a:pt x="823721" y="526288"/>
                </a:lnTo>
                <a:lnTo>
                  <a:pt x="641222" y="591438"/>
                </a:lnTo>
                <a:lnTo>
                  <a:pt x="624713" y="683640"/>
                </a:lnTo>
                <a:lnTo>
                  <a:pt x="768350" y="797687"/>
                </a:lnTo>
                <a:lnTo>
                  <a:pt x="757301" y="835659"/>
                </a:lnTo>
                <a:lnTo>
                  <a:pt x="668908" y="873632"/>
                </a:lnTo>
                <a:lnTo>
                  <a:pt x="691007" y="949578"/>
                </a:lnTo>
                <a:lnTo>
                  <a:pt x="602614" y="922401"/>
                </a:lnTo>
                <a:lnTo>
                  <a:pt x="497585" y="965834"/>
                </a:lnTo>
                <a:lnTo>
                  <a:pt x="431164" y="949578"/>
                </a:lnTo>
                <a:lnTo>
                  <a:pt x="403606" y="987551"/>
                </a:lnTo>
                <a:lnTo>
                  <a:pt x="364870" y="949578"/>
                </a:lnTo>
                <a:lnTo>
                  <a:pt x="298576" y="911605"/>
                </a:lnTo>
                <a:lnTo>
                  <a:pt x="315087" y="938656"/>
                </a:lnTo>
                <a:lnTo>
                  <a:pt x="237744" y="938656"/>
                </a:lnTo>
                <a:lnTo>
                  <a:pt x="154812" y="938656"/>
                </a:lnTo>
                <a:lnTo>
                  <a:pt x="154812" y="873632"/>
                </a:lnTo>
                <a:lnTo>
                  <a:pt x="210057" y="770508"/>
                </a:lnTo>
                <a:lnTo>
                  <a:pt x="77343" y="743330"/>
                </a:lnTo>
                <a:lnTo>
                  <a:pt x="27685" y="705357"/>
                </a:lnTo>
                <a:lnTo>
                  <a:pt x="38734" y="667384"/>
                </a:lnTo>
                <a:lnTo>
                  <a:pt x="0" y="629412"/>
                </a:lnTo>
                <a:lnTo>
                  <a:pt x="27685" y="602360"/>
                </a:lnTo>
                <a:lnTo>
                  <a:pt x="0" y="542670"/>
                </a:lnTo>
                <a:lnTo>
                  <a:pt x="27685" y="401573"/>
                </a:lnTo>
                <a:lnTo>
                  <a:pt x="93979" y="347217"/>
                </a:lnTo>
                <a:lnTo>
                  <a:pt x="116077" y="222503"/>
                </a:lnTo>
                <a:close/>
              </a:path>
              <a:path w="890269" h="988060">
                <a:moveTo>
                  <a:pt x="315087" y="938656"/>
                </a:moveTo>
                <a:close/>
              </a:path>
              <a:path w="890269" h="988060">
                <a:moveTo>
                  <a:pt x="812672" y="141096"/>
                </a:moveTo>
                <a:lnTo>
                  <a:pt x="768350" y="92201"/>
                </a:lnTo>
                <a:lnTo>
                  <a:pt x="812672" y="130175"/>
                </a:lnTo>
                <a:lnTo>
                  <a:pt x="812672" y="141096"/>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bg object 86"/>
          <p:cNvSpPr/>
          <p:nvPr/>
        </p:nvSpPr>
        <p:spPr>
          <a:xfrm>
            <a:off x="4745735" y="3250691"/>
            <a:ext cx="172720" cy="66040"/>
          </a:xfrm>
          <a:custGeom>
            <a:avLst/>
            <a:gdLst/>
            <a:ahLst/>
            <a:cxnLst/>
            <a:rect l="l" t="t" r="r" b="b"/>
            <a:pathLst>
              <a:path w="172720" h="66039">
                <a:moveTo>
                  <a:pt x="172212" y="10922"/>
                </a:moveTo>
                <a:lnTo>
                  <a:pt x="144399" y="10922"/>
                </a:lnTo>
                <a:lnTo>
                  <a:pt x="161162" y="21844"/>
                </a:lnTo>
                <a:lnTo>
                  <a:pt x="172212" y="21844"/>
                </a:lnTo>
                <a:lnTo>
                  <a:pt x="172212" y="10922"/>
                </a:lnTo>
                <a:close/>
              </a:path>
              <a:path w="172720" h="66039">
                <a:moveTo>
                  <a:pt x="105537" y="0"/>
                </a:moveTo>
                <a:lnTo>
                  <a:pt x="27812" y="0"/>
                </a:lnTo>
                <a:lnTo>
                  <a:pt x="0" y="10922"/>
                </a:lnTo>
                <a:lnTo>
                  <a:pt x="44450" y="65532"/>
                </a:lnTo>
                <a:lnTo>
                  <a:pt x="55499" y="49149"/>
                </a:lnTo>
                <a:lnTo>
                  <a:pt x="106680" y="49149"/>
                </a:lnTo>
                <a:lnTo>
                  <a:pt x="133350" y="38227"/>
                </a:lnTo>
                <a:lnTo>
                  <a:pt x="133350" y="21844"/>
                </a:lnTo>
                <a:lnTo>
                  <a:pt x="105537" y="0"/>
                </a:lnTo>
                <a:close/>
              </a:path>
              <a:path w="172720" h="66039">
                <a:moveTo>
                  <a:pt x="106680" y="49149"/>
                </a:moveTo>
                <a:lnTo>
                  <a:pt x="55499" y="49149"/>
                </a:lnTo>
                <a:lnTo>
                  <a:pt x="66675" y="65532"/>
                </a:lnTo>
                <a:lnTo>
                  <a:pt x="106680" y="49149"/>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87" name="bg object 87"/>
          <p:cNvPicPr/>
          <p:nvPr/>
        </p:nvPicPr>
        <p:blipFill>
          <a:blip r:embed="rId30" cstate="print"/>
          <a:stretch>
            <a:fillRect/>
          </a:stretch>
        </p:blipFill>
        <p:spPr>
          <a:xfrm>
            <a:off x="2746247" y="2235517"/>
            <a:ext cx="32575" cy="55689"/>
          </a:xfrm>
          <a:prstGeom prst="rect">
            <a:avLst/>
          </a:prstGeom>
        </p:spPr>
      </p:pic>
      <p:sp>
        <p:nvSpPr>
          <p:cNvPr id="88" name="bg object 88"/>
          <p:cNvSpPr/>
          <p:nvPr/>
        </p:nvSpPr>
        <p:spPr>
          <a:xfrm>
            <a:off x="4890134" y="3261614"/>
            <a:ext cx="27940" cy="11430"/>
          </a:xfrm>
          <a:custGeom>
            <a:avLst/>
            <a:gdLst/>
            <a:ahLst/>
            <a:cxnLst/>
            <a:rect l="l" t="t" r="r" b="b"/>
            <a:pathLst>
              <a:path w="27939" h="11429">
                <a:moveTo>
                  <a:pt x="0" y="10922"/>
                </a:moveTo>
                <a:lnTo>
                  <a:pt x="0" y="0"/>
                </a:lnTo>
                <a:lnTo>
                  <a:pt x="0" y="10922"/>
                </a:lnTo>
                <a:close/>
              </a:path>
              <a:path w="27939" h="11429">
                <a:moveTo>
                  <a:pt x="27812" y="0"/>
                </a:moveTo>
                <a:lnTo>
                  <a:pt x="27812" y="10922"/>
                </a:lnTo>
                <a:lnTo>
                  <a:pt x="16763" y="10922"/>
                </a:lnTo>
                <a:lnTo>
                  <a:pt x="0" y="0"/>
                </a:lnTo>
                <a:lnTo>
                  <a:pt x="16763" y="0"/>
                </a:lnTo>
                <a:lnTo>
                  <a:pt x="27812" y="0"/>
                </a:lnTo>
                <a:close/>
              </a:path>
              <a:path w="27939" h="11429">
                <a:moveTo>
                  <a:pt x="0" y="10922"/>
                </a:move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89" name="bg object 89"/>
          <p:cNvPicPr/>
          <p:nvPr/>
        </p:nvPicPr>
        <p:blipFill>
          <a:blip r:embed="rId31" cstate="print"/>
          <a:stretch>
            <a:fillRect/>
          </a:stretch>
        </p:blipFill>
        <p:spPr>
          <a:xfrm>
            <a:off x="2761488" y="2490406"/>
            <a:ext cx="17335" cy="34353"/>
          </a:xfrm>
          <a:prstGeom prst="rect">
            <a:avLst/>
          </a:prstGeom>
        </p:spPr>
      </p:pic>
      <p:sp>
        <p:nvSpPr>
          <p:cNvPr id="90" name="bg object 90"/>
          <p:cNvSpPr/>
          <p:nvPr/>
        </p:nvSpPr>
        <p:spPr>
          <a:xfrm>
            <a:off x="2776728" y="2491739"/>
            <a:ext cx="6350" cy="6350"/>
          </a:xfrm>
          <a:custGeom>
            <a:avLst/>
            <a:gdLst/>
            <a:ahLst/>
            <a:cxnLst/>
            <a:rect l="l" t="t" r="r" b="b"/>
            <a:pathLst>
              <a:path w="6350" h="6350">
                <a:moveTo>
                  <a:pt x="6095" y="0"/>
                </a:moveTo>
                <a:lnTo>
                  <a:pt x="0" y="0"/>
                </a:lnTo>
                <a:lnTo>
                  <a:pt x="0" y="6096"/>
                </a:lnTo>
                <a:lnTo>
                  <a:pt x="6095" y="6096"/>
                </a:lnTo>
                <a:lnTo>
                  <a:pt x="6095"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bg object 91"/>
          <p:cNvSpPr/>
          <p:nvPr/>
        </p:nvSpPr>
        <p:spPr>
          <a:xfrm>
            <a:off x="2776728" y="2491739"/>
            <a:ext cx="6350" cy="6350"/>
          </a:xfrm>
          <a:custGeom>
            <a:avLst/>
            <a:gdLst/>
            <a:ahLst/>
            <a:cxnLst/>
            <a:rect l="l" t="t" r="r" b="b"/>
            <a:pathLst>
              <a:path w="6350" h="6350">
                <a:moveTo>
                  <a:pt x="0" y="6096"/>
                </a:moveTo>
                <a:lnTo>
                  <a:pt x="6095" y="6096"/>
                </a:lnTo>
                <a:lnTo>
                  <a:pt x="6095" y="0"/>
                </a:lnTo>
                <a:lnTo>
                  <a:pt x="0" y="0"/>
                </a:lnTo>
                <a:lnTo>
                  <a:pt x="0" y="6096"/>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bg object 92"/>
          <p:cNvSpPr/>
          <p:nvPr/>
        </p:nvSpPr>
        <p:spPr>
          <a:xfrm>
            <a:off x="2761488" y="2237232"/>
            <a:ext cx="15240" cy="27940"/>
          </a:xfrm>
          <a:custGeom>
            <a:avLst/>
            <a:gdLst/>
            <a:ahLst/>
            <a:cxnLst/>
            <a:rect l="l" t="t" r="r" b="b"/>
            <a:pathLst>
              <a:path w="15239" h="27939">
                <a:moveTo>
                  <a:pt x="15239" y="0"/>
                </a:moveTo>
                <a:lnTo>
                  <a:pt x="0" y="16509"/>
                </a:lnTo>
                <a:lnTo>
                  <a:pt x="15239" y="27431"/>
                </a:lnTo>
                <a:lnTo>
                  <a:pt x="15239"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bg object 93"/>
          <p:cNvSpPr/>
          <p:nvPr/>
        </p:nvSpPr>
        <p:spPr>
          <a:xfrm>
            <a:off x="2761488" y="2237232"/>
            <a:ext cx="15240" cy="27940"/>
          </a:xfrm>
          <a:custGeom>
            <a:avLst/>
            <a:gdLst/>
            <a:ahLst/>
            <a:cxnLst/>
            <a:rect l="l" t="t" r="r" b="b"/>
            <a:pathLst>
              <a:path w="15239" h="27939">
                <a:moveTo>
                  <a:pt x="15239" y="27431"/>
                </a:moveTo>
                <a:lnTo>
                  <a:pt x="0" y="16509"/>
                </a:lnTo>
                <a:lnTo>
                  <a:pt x="15239" y="0"/>
                </a:lnTo>
                <a:lnTo>
                  <a:pt x="15239" y="2743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94" name="bg object 94"/>
          <p:cNvPicPr/>
          <p:nvPr/>
        </p:nvPicPr>
        <p:blipFill>
          <a:blip r:embed="rId32" cstate="print"/>
          <a:stretch>
            <a:fillRect/>
          </a:stretch>
        </p:blipFill>
        <p:spPr>
          <a:xfrm>
            <a:off x="577595" y="2493263"/>
            <a:ext cx="329958" cy="589026"/>
          </a:xfrm>
          <a:prstGeom prst="rect">
            <a:avLst/>
          </a:prstGeom>
        </p:spPr>
      </p:pic>
      <p:sp>
        <p:nvSpPr>
          <p:cNvPr id="95" name="bg object 95"/>
          <p:cNvSpPr/>
          <p:nvPr/>
        </p:nvSpPr>
        <p:spPr>
          <a:xfrm>
            <a:off x="592835" y="2470404"/>
            <a:ext cx="326390" cy="585470"/>
          </a:xfrm>
          <a:custGeom>
            <a:avLst/>
            <a:gdLst/>
            <a:ahLst/>
            <a:cxnLst/>
            <a:rect l="l" t="t" r="r" b="b"/>
            <a:pathLst>
              <a:path w="326390" h="585469">
                <a:moveTo>
                  <a:pt x="121615" y="0"/>
                </a:moveTo>
                <a:lnTo>
                  <a:pt x="66332" y="10795"/>
                </a:lnTo>
                <a:lnTo>
                  <a:pt x="77393" y="151765"/>
                </a:lnTo>
                <a:lnTo>
                  <a:pt x="0" y="384683"/>
                </a:lnTo>
                <a:lnTo>
                  <a:pt x="66332" y="444373"/>
                </a:lnTo>
                <a:lnTo>
                  <a:pt x="55283" y="574421"/>
                </a:lnTo>
                <a:lnTo>
                  <a:pt x="143725" y="585216"/>
                </a:lnTo>
                <a:lnTo>
                  <a:pt x="210058" y="563499"/>
                </a:lnTo>
                <a:lnTo>
                  <a:pt x="198996" y="509397"/>
                </a:lnTo>
                <a:lnTo>
                  <a:pt x="237693" y="460629"/>
                </a:lnTo>
                <a:lnTo>
                  <a:pt x="210058" y="422656"/>
                </a:lnTo>
                <a:lnTo>
                  <a:pt x="248742" y="357632"/>
                </a:lnTo>
                <a:lnTo>
                  <a:pt x="182410" y="281813"/>
                </a:lnTo>
                <a:lnTo>
                  <a:pt x="237693" y="281813"/>
                </a:lnTo>
                <a:lnTo>
                  <a:pt x="265328" y="200533"/>
                </a:lnTo>
                <a:lnTo>
                  <a:pt x="248742" y="124587"/>
                </a:lnTo>
                <a:lnTo>
                  <a:pt x="326136" y="59562"/>
                </a:lnTo>
                <a:lnTo>
                  <a:pt x="287439" y="10795"/>
                </a:lnTo>
                <a:lnTo>
                  <a:pt x="132664" y="21717"/>
                </a:lnTo>
                <a:lnTo>
                  <a:pt x="121615"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bg object 96"/>
          <p:cNvSpPr/>
          <p:nvPr/>
        </p:nvSpPr>
        <p:spPr>
          <a:xfrm>
            <a:off x="592835" y="2470404"/>
            <a:ext cx="326390" cy="585470"/>
          </a:xfrm>
          <a:custGeom>
            <a:avLst/>
            <a:gdLst/>
            <a:ahLst/>
            <a:cxnLst/>
            <a:rect l="l" t="t" r="r" b="b"/>
            <a:pathLst>
              <a:path w="326390" h="585469">
                <a:moveTo>
                  <a:pt x="210058" y="563499"/>
                </a:moveTo>
                <a:lnTo>
                  <a:pt x="143725" y="585216"/>
                </a:lnTo>
                <a:lnTo>
                  <a:pt x="55283" y="574421"/>
                </a:lnTo>
                <a:lnTo>
                  <a:pt x="66332" y="444373"/>
                </a:lnTo>
                <a:lnTo>
                  <a:pt x="0" y="384683"/>
                </a:lnTo>
                <a:lnTo>
                  <a:pt x="77393" y="151765"/>
                </a:lnTo>
                <a:lnTo>
                  <a:pt x="66332" y="10795"/>
                </a:lnTo>
                <a:lnTo>
                  <a:pt x="121615" y="0"/>
                </a:lnTo>
                <a:lnTo>
                  <a:pt x="132664" y="21717"/>
                </a:lnTo>
                <a:lnTo>
                  <a:pt x="287439" y="10795"/>
                </a:lnTo>
                <a:lnTo>
                  <a:pt x="326136" y="59562"/>
                </a:lnTo>
                <a:lnTo>
                  <a:pt x="248742" y="124587"/>
                </a:lnTo>
                <a:lnTo>
                  <a:pt x="265328" y="200533"/>
                </a:lnTo>
                <a:lnTo>
                  <a:pt x="237693" y="281813"/>
                </a:lnTo>
                <a:lnTo>
                  <a:pt x="182410" y="281813"/>
                </a:lnTo>
                <a:lnTo>
                  <a:pt x="248742" y="357632"/>
                </a:lnTo>
                <a:lnTo>
                  <a:pt x="210058" y="422656"/>
                </a:lnTo>
                <a:lnTo>
                  <a:pt x="237693" y="460629"/>
                </a:lnTo>
                <a:lnTo>
                  <a:pt x="198996" y="509397"/>
                </a:lnTo>
                <a:lnTo>
                  <a:pt x="210058" y="563499"/>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97" name="bg object 97"/>
          <p:cNvPicPr/>
          <p:nvPr/>
        </p:nvPicPr>
        <p:blipFill>
          <a:blip r:embed="rId33" cstate="print"/>
          <a:stretch>
            <a:fillRect/>
          </a:stretch>
        </p:blipFill>
        <p:spPr>
          <a:xfrm>
            <a:off x="2866644" y="1967483"/>
            <a:ext cx="552437" cy="491489"/>
          </a:xfrm>
          <a:prstGeom prst="rect">
            <a:avLst/>
          </a:prstGeom>
        </p:spPr>
      </p:pic>
      <p:pic>
        <p:nvPicPr>
          <p:cNvPr id="98" name="bg object 98"/>
          <p:cNvPicPr/>
          <p:nvPr/>
        </p:nvPicPr>
        <p:blipFill>
          <a:blip r:embed="rId34" cstate="print"/>
          <a:stretch>
            <a:fillRect/>
          </a:stretch>
        </p:blipFill>
        <p:spPr>
          <a:xfrm>
            <a:off x="4744148" y="3220262"/>
            <a:ext cx="217246" cy="97548"/>
          </a:xfrm>
          <a:prstGeom prst="rect">
            <a:avLst/>
          </a:prstGeom>
        </p:spPr>
      </p:pic>
      <p:sp>
        <p:nvSpPr>
          <p:cNvPr id="99" name="bg object 99"/>
          <p:cNvSpPr/>
          <p:nvPr/>
        </p:nvSpPr>
        <p:spPr>
          <a:xfrm>
            <a:off x="2881884" y="1944623"/>
            <a:ext cx="548640" cy="487680"/>
          </a:xfrm>
          <a:custGeom>
            <a:avLst/>
            <a:gdLst/>
            <a:ahLst/>
            <a:cxnLst/>
            <a:rect l="l" t="t" r="r" b="b"/>
            <a:pathLst>
              <a:path w="548639" h="487680">
                <a:moveTo>
                  <a:pt x="432307" y="433450"/>
                </a:moveTo>
                <a:lnTo>
                  <a:pt x="404494" y="433450"/>
                </a:lnTo>
                <a:lnTo>
                  <a:pt x="432307" y="444373"/>
                </a:lnTo>
                <a:lnTo>
                  <a:pt x="493268" y="487679"/>
                </a:lnTo>
                <a:lnTo>
                  <a:pt x="482092" y="471424"/>
                </a:lnTo>
                <a:lnTo>
                  <a:pt x="432307" y="433450"/>
                </a:lnTo>
                <a:close/>
              </a:path>
              <a:path w="548639" h="487680">
                <a:moveTo>
                  <a:pt x="221615" y="168021"/>
                </a:moveTo>
                <a:lnTo>
                  <a:pt x="127508" y="168021"/>
                </a:lnTo>
                <a:lnTo>
                  <a:pt x="127508" y="281813"/>
                </a:lnTo>
                <a:lnTo>
                  <a:pt x="182880" y="319659"/>
                </a:lnTo>
                <a:lnTo>
                  <a:pt x="310388" y="395604"/>
                </a:lnTo>
                <a:lnTo>
                  <a:pt x="404494" y="422655"/>
                </a:lnTo>
                <a:lnTo>
                  <a:pt x="404494" y="406400"/>
                </a:lnTo>
                <a:lnTo>
                  <a:pt x="260477" y="265556"/>
                </a:lnTo>
                <a:lnTo>
                  <a:pt x="221615" y="216788"/>
                </a:lnTo>
                <a:lnTo>
                  <a:pt x="221615" y="168021"/>
                </a:lnTo>
                <a:close/>
              </a:path>
              <a:path w="548639" h="487680">
                <a:moveTo>
                  <a:pt x="127508" y="168021"/>
                </a:moveTo>
                <a:lnTo>
                  <a:pt x="66548" y="168021"/>
                </a:lnTo>
                <a:lnTo>
                  <a:pt x="88646" y="216788"/>
                </a:lnTo>
                <a:lnTo>
                  <a:pt x="127508" y="168021"/>
                </a:lnTo>
                <a:close/>
              </a:path>
              <a:path w="548639" h="487680">
                <a:moveTo>
                  <a:pt x="0" y="113791"/>
                </a:moveTo>
                <a:lnTo>
                  <a:pt x="38735" y="205866"/>
                </a:lnTo>
                <a:lnTo>
                  <a:pt x="66548" y="168021"/>
                </a:lnTo>
                <a:lnTo>
                  <a:pt x="290444" y="168021"/>
                </a:lnTo>
                <a:lnTo>
                  <a:pt x="338074" y="140842"/>
                </a:lnTo>
                <a:lnTo>
                  <a:pt x="545724" y="140842"/>
                </a:lnTo>
                <a:lnTo>
                  <a:pt x="543980" y="124587"/>
                </a:lnTo>
                <a:lnTo>
                  <a:pt x="166243" y="124587"/>
                </a:lnTo>
                <a:lnTo>
                  <a:pt x="0" y="113791"/>
                </a:lnTo>
                <a:close/>
              </a:path>
              <a:path w="548639" h="487680">
                <a:moveTo>
                  <a:pt x="545724" y="140842"/>
                </a:moveTo>
                <a:lnTo>
                  <a:pt x="338074" y="140842"/>
                </a:lnTo>
                <a:lnTo>
                  <a:pt x="432307" y="168021"/>
                </a:lnTo>
                <a:lnTo>
                  <a:pt x="509905" y="168021"/>
                </a:lnTo>
                <a:lnTo>
                  <a:pt x="548640" y="189611"/>
                </a:lnTo>
                <a:lnTo>
                  <a:pt x="548640" y="168021"/>
                </a:lnTo>
                <a:lnTo>
                  <a:pt x="545724" y="140842"/>
                </a:lnTo>
                <a:close/>
              </a:path>
              <a:path w="548639" h="487680">
                <a:moveTo>
                  <a:pt x="290444" y="168021"/>
                </a:moveTo>
                <a:lnTo>
                  <a:pt x="221615" y="168021"/>
                </a:lnTo>
                <a:lnTo>
                  <a:pt x="271526" y="178815"/>
                </a:lnTo>
                <a:lnTo>
                  <a:pt x="290444" y="168021"/>
                </a:lnTo>
                <a:close/>
              </a:path>
              <a:path w="548639" h="487680">
                <a:moveTo>
                  <a:pt x="299212" y="0"/>
                </a:moveTo>
                <a:lnTo>
                  <a:pt x="205105" y="37973"/>
                </a:lnTo>
                <a:lnTo>
                  <a:pt x="166243" y="124587"/>
                </a:lnTo>
                <a:lnTo>
                  <a:pt x="543980" y="124587"/>
                </a:lnTo>
                <a:lnTo>
                  <a:pt x="539920" y="86740"/>
                </a:lnTo>
                <a:lnTo>
                  <a:pt x="482092" y="86740"/>
                </a:lnTo>
                <a:lnTo>
                  <a:pt x="376808" y="65024"/>
                </a:lnTo>
                <a:lnTo>
                  <a:pt x="299212" y="0"/>
                </a:lnTo>
                <a:close/>
              </a:path>
              <a:path w="548639" h="487680">
                <a:moveTo>
                  <a:pt x="537591" y="65024"/>
                </a:moveTo>
                <a:lnTo>
                  <a:pt x="482092" y="86740"/>
                </a:lnTo>
                <a:lnTo>
                  <a:pt x="539920" y="86740"/>
                </a:lnTo>
                <a:lnTo>
                  <a:pt x="537591" y="65024"/>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bg object 100"/>
          <p:cNvSpPr/>
          <p:nvPr/>
        </p:nvSpPr>
        <p:spPr>
          <a:xfrm>
            <a:off x="2881884" y="1944623"/>
            <a:ext cx="548640" cy="487680"/>
          </a:xfrm>
          <a:custGeom>
            <a:avLst/>
            <a:gdLst/>
            <a:ahLst/>
            <a:cxnLst/>
            <a:rect l="l" t="t" r="r" b="b"/>
            <a:pathLst>
              <a:path w="548639" h="487680">
                <a:moveTo>
                  <a:pt x="493268" y="487679"/>
                </a:moveTo>
                <a:lnTo>
                  <a:pt x="432307" y="444373"/>
                </a:lnTo>
                <a:lnTo>
                  <a:pt x="404494" y="433450"/>
                </a:lnTo>
                <a:lnTo>
                  <a:pt x="432307" y="433450"/>
                </a:lnTo>
                <a:lnTo>
                  <a:pt x="482092" y="471424"/>
                </a:lnTo>
                <a:lnTo>
                  <a:pt x="493268" y="487679"/>
                </a:lnTo>
                <a:close/>
              </a:path>
              <a:path w="548639" h="487680">
                <a:moveTo>
                  <a:pt x="0" y="113791"/>
                </a:moveTo>
                <a:lnTo>
                  <a:pt x="166243" y="124587"/>
                </a:lnTo>
                <a:lnTo>
                  <a:pt x="205105" y="37973"/>
                </a:lnTo>
                <a:lnTo>
                  <a:pt x="299212" y="0"/>
                </a:lnTo>
                <a:lnTo>
                  <a:pt x="376808" y="65024"/>
                </a:lnTo>
                <a:lnTo>
                  <a:pt x="482092" y="86740"/>
                </a:lnTo>
                <a:lnTo>
                  <a:pt x="537591" y="65024"/>
                </a:lnTo>
                <a:lnTo>
                  <a:pt x="548640" y="168021"/>
                </a:lnTo>
                <a:lnTo>
                  <a:pt x="548640" y="189611"/>
                </a:lnTo>
                <a:lnTo>
                  <a:pt x="509905" y="168021"/>
                </a:lnTo>
                <a:lnTo>
                  <a:pt x="432307" y="168021"/>
                </a:lnTo>
                <a:lnTo>
                  <a:pt x="338074" y="140842"/>
                </a:lnTo>
                <a:lnTo>
                  <a:pt x="271526" y="178815"/>
                </a:lnTo>
                <a:lnTo>
                  <a:pt x="221615" y="168021"/>
                </a:lnTo>
                <a:lnTo>
                  <a:pt x="221615" y="216788"/>
                </a:lnTo>
                <a:lnTo>
                  <a:pt x="260477" y="265556"/>
                </a:lnTo>
                <a:lnTo>
                  <a:pt x="404494" y="406400"/>
                </a:lnTo>
                <a:lnTo>
                  <a:pt x="404494" y="422655"/>
                </a:lnTo>
                <a:lnTo>
                  <a:pt x="310388" y="395604"/>
                </a:lnTo>
                <a:lnTo>
                  <a:pt x="182880" y="319659"/>
                </a:lnTo>
                <a:lnTo>
                  <a:pt x="127508" y="281813"/>
                </a:lnTo>
                <a:lnTo>
                  <a:pt x="127508" y="168021"/>
                </a:lnTo>
                <a:lnTo>
                  <a:pt x="88646" y="216788"/>
                </a:lnTo>
                <a:lnTo>
                  <a:pt x="66548" y="168021"/>
                </a:lnTo>
                <a:lnTo>
                  <a:pt x="38735" y="205866"/>
                </a:lnTo>
                <a:lnTo>
                  <a:pt x="0" y="11379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1" name="bg object 101"/>
          <p:cNvPicPr/>
          <p:nvPr/>
        </p:nvPicPr>
        <p:blipFill>
          <a:blip r:embed="rId35" cstate="print"/>
          <a:stretch>
            <a:fillRect/>
          </a:stretch>
        </p:blipFill>
        <p:spPr>
          <a:xfrm>
            <a:off x="489203" y="829055"/>
            <a:ext cx="435114" cy="514350"/>
          </a:xfrm>
          <a:prstGeom prst="rect">
            <a:avLst/>
          </a:prstGeom>
        </p:spPr>
      </p:pic>
      <p:sp>
        <p:nvSpPr>
          <p:cNvPr id="102" name="bg object 102"/>
          <p:cNvSpPr/>
          <p:nvPr/>
        </p:nvSpPr>
        <p:spPr>
          <a:xfrm>
            <a:off x="504443" y="806195"/>
            <a:ext cx="431800" cy="510540"/>
          </a:xfrm>
          <a:custGeom>
            <a:avLst/>
            <a:gdLst/>
            <a:ahLst/>
            <a:cxnLst/>
            <a:rect l="l" t="t" r="r" b="b"/>
            <a:pathLst>
              <a:path w="431800" h="510540">
                <a:moveTo>
                  <a:pt x="309651" y="0"/>
                </a:moveTo>
                <a:lnTo>
                  <a:pt x="210121" y="21716"/>
                </a:lnTo>
                <a:lnTo>
                  <a:pt x="154825" y="86867"/>
                </a:lnTo>
                <a:lnTo>
                  <a:pt x="221170" y="86867"/>
                </a:lnTo>
                <a:lnTo>
                  <a:pt x="165887" y="152018"/>
                </a:lnTo>
                <a:lnTo>
                  <a:pt x="49758" y="141224"/>
                </a:lnTo>
                <a:lnTo>
                  <a:pt x="38709" y="255269"/>
                </a:lnTo>
                <a:lnTo>
                  <a:pt x="143764" y="282448"/>
                </a:lnTo>
                <a:lnTo>
                  <a:pt x="38709" y="369315"/>
                </a:lnTo>
                <a:lnTo>
                  <a:pt x="77406" y="358520"/>
                </a:lnTo>
                <a:lnTo>
                  <a:pt x="38709" y="434466"/>
                </a:lnTo>
                <a:lnTo>
                  <a:pt x="0" y="461644"/>
                </a:lnTo>
                <a:lnTo>
                  <a:pt x="49758" y="510539"/>
                </a:lnTo>
                <a:lnTo>
                  <a:pt x="165887" y="499617"/>
                </a:lnTo>
                <a:lnTo>
                  <a:pt x="270941" y="434466"/>
                </a:lnTo>
                <a:lnTo>
                  <a:pt x="403644" y="423671"/>
                </a:lnTo>
                <a:lnTo>
                  <a:pt x="431292" y="320420"/>
                </a:lnTo>
                <a:lnTo>
                  <a:pt x="403644" y="162940"/>
                </a:lnTo>
                <a:lnTo>
                  <a:pt x="375996" y="179196"/>
                </a:lnTo>
                <a:lnTo>
                  <a:pt x="326237" y="124967"/>
                </a:lnTo>
                <a:lnTo>
                  <a:pt x="298589" y="162940"/>
                </a:lnTo>
                <a:lnTo>
                  <a:pt x="221170" y="114045"/>
                </a:lnTo>
                <a:lnTo>
                  <a:pt x="309651" y="37973"/>
                </a:lnTo>
                <a:lnTo>
                  <a:pt x="30965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bg object 103"/>
          <p:cNvSpPr/>
          <p:nvPr/>
        </p:nvSpPr>
        <p:spPr>
          <a:xfrm>
            <a:off x="504443" y="806195"/>
            <a:ext cx="431800" cy="510540"/>
          </a:xfrm>
          <a:custGeom>
            <a:avLst/>
            <a:gdLst/>
            <a:ahLst/>
            <a:cxnLst/>
            <a:rect l="l" t="t" r="r" b="b"/>
            <a:pathLst>
              <a:path w="431800" h="510540">
                <a:moveTo>
                  <a:pt x="309651" y="37973"/>
                </a:moveTo>
                <a:lnTo>
                  <a:pt x="221170" y="114045"/>
                </a:lnTo>
                <a:lnTo>
                  <a:pt x="298589" y="162940"/>
                </a:lnTo>
                <a:lnTo>
                  <a:pt x="326237" y="124967"/>
                </a:lnTo>
                <a:lnTo>
                  <a:pt x="375996" y="179196"/>
                </a:lnTo>
                <a:lnTo>
                  <a:pt x="403644" y="162940"/>
                </a:lnTo>
                <a:lnTo>
                  <a:pt x="431292" y="320420"/>
                </a:lnTo>
                <a:lnTo>
                  <a:pt x="403644" y="423671"/>
                </a:lnTo>
                <a:lnTo>
                  <a:pt x="270941" y="434466"/>
                </a:lnTo>
                <a:lnTo>
                  <a:pt x="165887" y="499617"/>
                </a:lnTo>
                <a:lnTo>
                  <a:pt x="49758" y="510539"/>
                </a:lnTo>
                <a:lnTo>
                  <a:pt x="0" y="461644"/>
                </a:lnTo>
                <a:lnTo>
                  <a:pt x="38709" y="434466"/>
                </a:lnTo>
                <a:lnTo>
                  <a:pt x="77406" y="358520"/>
                </a:lnTo>
                <a:lnTo>
                  <a:pt x="38709" y="369315"/>
                </a:lnTo>
                <a:lnTo>
                  <a:pt x="143764" y="282448"/>
                </a:lnTo>
                <a:lnTo>
                  <a:pt x="38709" y="255269"/>
                </a:lnTo>
                <a:lnTo>
                  <a:pt x="49758" y="141224"/>
                </a:lnTo>
                <a:lnTo>
                  <a:pt x="165887" y="152018"/>
                </a:lnTo>
                <a:lnTo>
                  <a:pt x="221170" y="86867"/>
                </a:lnTo>
                <a:lnTo>
                  <a:pt x="154825" y="86867"/>
                </a:lnTo>
                <a:lnTo>
                  <a:pt x="210121" y="21716"/>
                </a:lnTo>
                <a:lnTo>
                  <a:pt x="309651" y="0"/>
                </a:lnTo>
                <a:lnTo>
                  <a:pt x="309651" y="37973"/>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bg object 104"/>
          <p:cNvSpPr/>
          <p:nvPr/>
        </p:nvSpPr>
        <p:spPr>
          <a:xfrm>
            <a:off x="4789804" y="3197351"/>
            <a:ext cx="183515" cy="64135"/>
          </a:xfrm>
          <a:custGeom>
            <a:avLst/>
            <a:gdLst/>
            <a:ahLst/>
            <a:cxnLst/>
            <a:rect l="l" t="t" r="r" b="b"/>
            <a:pathLst>
              <a:path w="183514" h="64135">
                <a:moveTo>
                  <a:pt x="183007" y="0"/>
                </a:moveTo>
                <a:lnTo>
                  <a:pt x="0" y="53339"/>
                </a:lnTo>
                <a:lnTo>
                  <a:pt x="60960" y="53339"/>
                </a:lnTo>
                <a:lnTo>
                  <a:pt x="88773" y="64008"/>
                </a:lnTo>
                <a:lnTo>
                  <a:pt x="127508" y="64008"/>
                </a:lnTo>
                <a:lnTo>
                  <a:pt x="116459" y="37337"/>
                </a:lnTo>
                <a:lnTo>
                  <a:pt x="183007"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bg object 105"/>
          <p:cNvSpPr/>
          <p:nvPr/>
        </p:nvSpPr>
        <p:spPr>
          <a:xfrm>
            <a:off x="4789804" y="3197351"/>
            <a:ext cx="183515" cy="64135"/>
          </a:xfrm>
          <a:custGeom>
            <a:avLst/>
            <a:gdLst/>
            <a:ahLst/>
            <a:cxnLst/>
            <a:rect l="l" t="t" r="r" b="b"/>
            <a:pathLst>
              <a:path w="183514" h="64135">
                <a:moveTo>
                  <a:pt x="116459" y="64008"/>
                </a:moveTo>
                <a:lnTo>
                  <a:pt x="99822" y="64008"/>
                </a:lnTo>
                <a:lnTo>
                  <a:pt x="88773" y="64008"/>
                </a:lnTo>
                <a:lnTo>
                  <a:pt x="60960" y="53339"/>
                </a:lnTo>
                <a:lnTo>
                  <a:pt x="0" y="53339"/>
                </a:lnTo>
                <a:lnTo>
                  <a:pt x="183007" y="0"/>
                </a:lnTo>
                <a:lnTo>
                  <a:pt x="116459" y="37337"/>
                </a:lnTo>
                <a:lnTo>
                  <a:pt x="127508" y="64008"/>
                </a:lnTo>
                <a:lnTo>
                  <a:pt x="116459" y="64008"/>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6" name="bg object 106"/>
          <p:cNvPicPr/>
          <p:nvPr/>
        </p:nvPicPr>
        <p:blipFill>
          <a:blip r:embed="rId36" cstate="print"/>
          <a:stretch>
            <a:fillRect/>
          </a:stretch>
        </p:blipFill>
        <p:spPr>
          <a:xfrm>
            <a:off x="3596640" y="672096"/>
            <a:ext cx="590550" cy="351269"/>
          </a:xfrm>
          <a:prstGeom prst="rect">
            <a:avLst/>
          </a:prstGeom>
        </p:spPr>
      </p:pic>
      <p:sp>
        <p:nvSpPr>
          <p:cNvPr id="107" name="bg object 107"/>
          <p:cNvSpPr/>
          <p:nvPr/>
        </p:nvSpPr>
        <p:spPr>
          <a:xfrm>
            <a:off x="3611879" y="649223"/>
            <a:ext cx="586740" cy="347980"/>
          </a:xfrm>
          <a:custGeom>
            <a:avLst/>
            <a:gdLst/>
            <a:ahLst/>
            <a:cxnLst/>
            <a:rect l="l" t="t" r="r" b="b"/>
            <a:pathLst>
              <a:path w="586739" h="347980">
                <a:moveTo>
                  <a:pt x="116205" y="0"/>
                </a:moveTo>
                <a:lnTo>
                  <a:pt x="11049" y="54228"/>
                </a:lnTo>
                <a:lnTo>
                  <a:pt x="27686" y="103124"/>
                </a:lnTo>
                <a:lnTo>
                  <a:pt x="38735" y="168275"/>
                </a:lnTo>
                <a:lnTo>
                  <a:pt x="193675" y="217170"/>
                </a:lnTo>
                <a:lnTo>
                  <a:pt x="182625" y="282321"/>
                </a:lnTo>
                <a:lnTo>
                  <a:pt x="249047" y="309499"/>
                </a:lnTo>
                <a:lnTo>
                  <a:pt x="260096" y="347472"/>
                </a:lnTo>
                <a:lnTo>
                  <a:pt x="354203" y="347472"/>
                </a:lnTo>
                <a:lnTo>
                  <a:pt x="459486" y="298576"/>
                </a:lnTo>
                <a:lnTo>
                  <a:pt x="498221" y="206248"/>
                </a:lnTo>
                <a:lnTo>
                  <a:pt x="586740" y="157479"/>
                </a:lnTo>
                <a:lnTo>
                  <a:pt x="564642" y="103124"/>
                </a:lnTo>
                <a:lnTo>
                  <a:pt x="470535" y="54228"/>
                </a:lnTo>
                <a:lnTo>
                  <a:pt x="420624" y="37973"/>
                </a:lnTo>
                <a:lnTo>
                  <a:pt x="412789" y="27177"/>
                </a:lnTo>
                <a:lnTo>
                  <a:pt x="354203" y="27177"/>
                </a:lnTo>
                <a:lnTo>
                  <a:pt x="116205" y="0"/>
                </a:lnTo>
                <a:close/>
              </a:path>
              <a:path w="586739" h="347980">
                <a:moveTo>
                  <a:pt x="11049" y="130301"/>
                </a:moveTo>
                <a:lnTo>
                  <a:pt x="0" y="168275"/>
                </a:lnTo>
                <a:lnTo>
                  <a:pt x="11049" y="168275"/>
                </a:lnTo>
                <a:lnTo>
                  <a:pt x="11049" y="130301"/>
                </a:lnTo>
                <a:close/>
              </a:path>
              <a:path w="586739" h="347980">
                <a:moveTo>
                  <a:pt x="393065" y="0"/>
                </a:moveTo>
                <a:lnTo>
                  <a:pt x="354203" y="27177"/>
                </a:lnTo>
                <a:lnTo>
                  <a:pt x="412789" y="27177"/>
                </a:lnTo>
                <a:lnTo>
                  <a:pt x="393065"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bg object 108"/>
          <p:cNvSpPr/>
          <p:nvPr/>
        </p:nvSpPr>
        <p:spPr>
          <a:xfrm>
            <a:off x="3611879" y="649223"/>
            <a:ext cx="586740" cy="347980"/>
          </a:xfrm>
          <a:custGeom>
            <a:avLst/>
            <a:gdLst/>
            <a:ahLst/>
            <a:cxnLst/>
            <a:rect l="l" t="t" r="r" b="b"/>
            <a:pathLst>
              <a:path w="586739" h="347980">
                <a:moveTo>
                  <a:pt x="38735" y="168275"/>
                </a:moveTo>
                <a:lnTo>
                  <a:pt x="27686" y="103124"/>
                </a:lnTo>
                <a:lnTo>
                  <a:pt x="11049" y="54228"/>
                </a:lnTo>
                <a:lnTo>
                  <a:pt x="116205" y="0"/>
                </a:lnTo>
                <a:lnTo>
                  <a:pt x="354203" y="27177"/>
                </a:lnTo>
                <a:lnTo>
                  <a:pt x="393065" y="0"/>
                </a:lnTo>
                <a:lnTo>
                  <a:pt x="420624" y="37973"/>
                </a:lnTo>
                <a:lnTo>
                  <a:pt x="470535" y="54228"/>
                </a:lnTo>
                <a:lnTo>
                  <a:pt x="564642" y="103124"/>
                </a:lnTo>
                <a:lnTo>
                  <a:pt x="586740" y="157479"/>
                </a:lnTo>
                <a:lnTo>
                  <a:pt x="498221" y="206248"/>
                </a:lnTo>
                <a:lnTo>
                  <a:pt x="459486" y="298576"/>
                </a:lnTo>
                <a:lnTo>
                  <a:pt x="354203" y="347472"/>
                </a:lnTo>
                <a:lnTo>
                  <a:pt x="260096" y="347472"/>
                </a:lnTo>
                <a:lnTo>
                  <a:pt x="249047" y="309499"/>
                </a:lnTo>
                <a:lnTo>
                  <a:pt x="182625" y="282321"/>
                </a:lnTo>
                <a:lnTo>
                  <a:pt x="193675" y="217170"/>
                </a:lnTo>
                <a:lnTo>
                  <a:pt x="38735" y="168275"/>
                </a:lnTo>
                <a:close/>
              </a:path>
              <a:path w="586739" h="347980">
                <a:moveTo>
                  <a:pt x="0" y="168275"/>
                </a:moveTo>
                <a:lnTo>
                  <a:pt x="11049" y="130301"/>
                </a:lnTo>
                <a:lnTo>
                  <a:pt x="11049" y="168275"/>
                </a:lnTo>
                <a:lnTo>
                  <a:pt x="0" y="168275"/>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9" name="bg object 109"/>
          <p:cNvPicPr/>
          <p:nvPr/>
        </p:nvPicPr>
        <p:blipFill>
          <a:blip r:embed="rId37" cstate="print"/>
          <a:stretch>
            <a:fillRect/>
          </a:stretch>
        </p:blipFill>
        <p:spPr>
          <a:xfrm>
            <a:off x="2849879" y="1929383"/>
            <a:ext cx="319265" cy="166877"/>
          </a:xfrm>
          <a:prstGeom prst="rect">
            <a:avLst/>
          </a:prstGeom>
        </p:spPr>
      </p:pic>
      <p:sp>
        <p:nvSpPr>
          <p:cNvPr id="110" name="bg object 110"/>
          <p:cNvSpPr/>
          <p:nvPr/>
        </p:nvSpPr>
        <p:spPr>
          <a:xfrm>
            <a:off x="2865119" y="1906523"/>
            <a:ext cx="315595" cy="163195"/>
          </a:xfrm>
          <a:custGeom>
            <a:avLst/>
            <a:gdLst/>
            <a:ahLst/>
            <a:cxnLst/>
            <a:rect l="l" t="t" r="r" b="b"/>
            <a:pathLst>
              <a:path w="315594" h="163194">
                <a:moveTo>
                  <a:pt x="287781" y="0"/>
                </a:moveTo>
                <a:lnTo>
                  <a:pt x="265684" y="0"/>
                </a:lnTo>
                <a:lnTo>
                  <a:pt x="265684" y="10922"/>
                </a:lnTo>
                <a:lnTo>
                  <a:pt x="143891" y="21716"/>
                </a:lnTo>
                <a:lnTo>
                  <a:pt x="105156" y="48895"/>
                </a:lnTo>
                <a:lnTo>
                  <a:pt x="27686" y="38100"/>
                </a:lnTo>
                <a:lnTo>
                  <a:pt x="0" y="65277"/>
                </a:lnTo>
                <a:lnTo>
                  <a:pt x="27686" y="152146"/>
                </a:lnTo>
                <a:lnTo>
                  <a:pt x="16637" y="152146"/>
                </a:lnTo>
                <a:lnTo>
                  <a:pt x="182625" y="163067"/>
                </a:lnTo>
                <a:lnTo>
                  <a:pt x="221361" y="76073"/>
                </a:lnTo>
                <a:lnTo>
                  <a:pt x="315468" y="38100"/>
                </a:lnTo>
                <a:lnTo>
                  <a:pt x="28778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bg object 111"/>
          <p:cNvSpPr/>
          <p:nvPr/>
        </p:nvSpPr>
        <p:spPr>
          <a:xfrm>
            <a:off x="2865119" y="1906523"/>
            <a:ext cx="315595" cy="163195"/>
          </a:xfrm>
          <a:custGeom>
            <a:avLst/>
            <a:gdLst/>
            <a:ahLst/>
            <a:cxnLst/>
            <a:rect l="l" t="t" r="r" b="b"/>
            <a:pathLst>
              <a:path w="315594" h="163194">
                <a:moveTo>
                  <a:pt x="16637" y="152146"/>
                </a:moveTo>
                <a:lnTo>
                  <a:pt x="27686" y="152146"/>
                </a:lnTo>
                <a:lnTo>
                  <a:pt x="0" y="65277"/>
                </a:lnTo>
                <a:lnTo>
                  <a:pt x="27686" y="38100"/>
                </a:lnTo>
                <a:lnTo>
                  <a:pt x="105156" y="48895"/>
                </a:lnTo>
                <a:lnTo>
                  <a:pt x="143891" y="21716"/>
                </a:lnTo>
                <a:lnTo>
                  <a:pt x="265684" y="10922"/>
                </a:lnTo>
                <a:lnTo>
                  <a:pt x="265684" y="0"/>
                </a:lnTo>
                <a:lnTo>
                  <a:pt x="287781" y="0"/>
                </a:lnTo>
                <a:lnTo>
                  <a:pt x="315468" y="38100"/>
                </a:lnTo>
                <a:lnTo>
                  <a:pt x="221361" y="76073"/>
                </a:lnTo>
                <a:lnTo>
                  <a:pt x="182625" y="163067"/>
                </a:lnTo>
                <a:lnTo>
                  <a:pt x="16637" y="152146"/>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12" name="bg object 112"/>
          <p:cNvPicPr/>
          <p:nvPr/>
        </p:nvPicPr>
        <p:blipFill>
          <a:blip r:embed="rId38" cstate="print"/>
          <a:stretch>
            <a:fillRect/>
          </a:stretch>
        </p:blipFill>
        <p:spPr>
          <a:xfrm>
            <a:off x="3089147" y="2109203"/>
            <a:ext cx="357390" cy="334530"/>
          </a:xfrm>
          <a:prstGeom prst="rect">
            <a:avLst/>
          </a:prstGeom>
        </p:spPr>
      </p:pic>
      <p:sp>
        <p:nvSpPr>
          <p:cNvPr id="113" name="bg object 113"/>
          <p:cNvSpPr/>
          <p:nvPr/>
        </p:nvSpPr>
        <p:spPr>
          <a:xfrm>
            <a:off x="3104388" y="2086355"/>
            <a:ext cx="353695" cy="330835"/>
          </a:xfrm>
          <a:custGeom>
            <a:avLst/>
            <a:gdLst/>
            <a:ahLst/>
            <a:cxnLst/>
            <a:rect l="l" t="t" r="r" b="b"/>
            <a:pathLst>
              <a:path w="353695" h="330835">
                <a:moveTo>
                  <a:pt x="115950" y="0"/>
                </a:moveTo>
                <a:lnTo>
                  <a:pt x="49656" y="37973"/>
                </a:lnTo>
                <a:lnTo>
                  <a:pt x="0" y="27051"/>
                </a:lnTo>
                <a:lnTo>
                  <a:pt x="0" y="75946"/>
                </a:lnTo>
                <a:lnTo>
                  <a:pt x="38607" y="124714"/>
                </a:lnTo>
                <a:lnTo>
                  <a:pt x="182245" y="265684"/>
                </a:lnTo>
                <a:lnTo>
                  <a:pt x="182245" y="292735"/>
                </a:lnTo>
                <a:lnTo>
                  <a:pt x="209931" y="292735"/>
                </a:lnTo>
                <a:lnTo>
                  <a:pt x="259587" y="330708"/>
                </a:lnTo>
                <a:lnTo>
                  <a:pt x="259587" y="281940"/>
                </a:lnTo>
                <a:lnTo>
                  <a:pt x="336931" y="216916"/>
                </a:lnTo>
                <a:lnTo>
                  <a:pt x="336931" y="124714"/>
                </a:lnTo>
                <a:lnTo>
                  <a:pt x="353567" y="48768"/>
                </a:lnTo>
                <a:lnTo>
                  <a:pt x="325882" y="48768"/>
                </a:lnTo>
                <a:lnTo>
                  <a:pt x="287274" y="27051"/>
                </a:lnTo>
                <a:lnTo>
                  <a:pt x="209931" y="27051"/>
                </a:lnTo>
                <a:lnTo>
                  <a:pt x="115950"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bg object 114"/>
          <p:cNvSpPr/>
          <p:nvPr/>
        </p:nvSpPr>
        <p:spPr>
          <a:xfrm>
            <a:off x="3104388" y="2086355"/>
            <a:ext cx="353695" cy="330835"/>
          </a:xfrm>
          <a:custGeom>
            <a:avLst/>
            <a:gdLst/>
            <a:ahLst/>
            <a:cxnLst/>
            <a:rect l="l" t="t" r="r" b="b"/>
            <a:pathLst>
              <a:path w="353695" h="330835">
                <a:moveTo>
                  <a:pt x="182245" y="292735"/>
                </a:moveTo>
                <a:lnTo>
                  <a:pt x="182245" y="281940"/>
                </a:lnTo>
                <a:lnTo>
                  <a:pt x="182245" y="265684"/>
                </a:lnTo>
                <a:lnTo>
                  <a:pt x="38607" y="124714"/>
                </a:lnTo>
                <a:lnTo>
                  <a:pt x="0" y="75946"/>
                </a:lnTo>
                <a:lnTo>
                  <a:pt x="0" y="27051"/>
                </a:lnTo>
                <a:lnTo>
                  <a:pt x="49656" y="37973"/>
                </a:lnTo>
                <a:lnTo>
                  <a:pt x="115950" y="0"/>
                </a:lnTo>
                <a:lnTo>
                  <a:pt x="209931" y="27051"/>
                </a:lnTo>
                <a:lnTo>
                  <a:pt x="287274" y="27051"/>
                </a:lnTo>
                <a:lnTo>
                  <a:pt x="325882" y="48768"/>
                </a:lnTo>
                <a:lnTo>
                  <a:pt x="353567" y="48768"/>
                </a:lnTo>
                <a:lnTo>
                  <a:pt x="336931" y="124714"/>
                </a:lnTo>
                <a:lnTo>
                  <a:pt x="336931" y="216916"/>
                </a:lnTo>
                <a:lnTo>
                  <a:pt x="259587" y="281940"/>
                </a:lnTo>
                <a:lnTo>
                  <a:pt x="259587" y="330708"/>
                </a:lnTo>
                <a:lnTo>
                  <a:pt x="209931" y="292735"/>
                </a:lnTo>
                <a:lnTo>
                  <a:pt x="182245" y="292735"/>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15" name="bg object 115"/>
          <p:cNvPicPr/>
          <p:nvPr/>
        </p:nvPicPr>
        <p:blipFill>
          <a:blip r:embed="rId39" cstate="print"/>
          <a:stretch>
            <a:fillRect/>
          </a:stretch>
        </p:blipFill>
        <p:spPr>
          <a:xfrm>
            <a:off x="2253995" y="2298192"/>
            <a:ext cx="8000" cy="10159"/>
          </a:xfrm>
          <a:prstGeom prst="rect">
            <a:avLst/>
          </a:prstGeom>
        </p:spPr>
      </p:pic>
      <p:sp>
        <p:nvSpPr>
          <p:cNvPr id="116" name="bg object 116"/>
          <p:cNvSpPr/>
          <p:nvPr/>
        </p:nvSpPr>
        <p:spPr>
          <a:xfrm>
            <a:off x="2269235" y="2275332"/>
            <a:ext cx="5080" cy="6350"/>
          </a:xfrm>
          <a:custGeom>
            <a:avLst/>
            <a:gdLst/>
            <a:ahLst/>
            <a:cxnLst/>
            <a:rect l="l" t="t" r="r" b="b"/>
            <a:pathLst>
              <a:path w="5080" h="6350">
                <a:moveTo>
                  <a:pt x="4572" y="0"/>
                </a:moveTo>
                <a:lnTo>
                  <a:pt x="0" y="0"/>
                </a:lnTo>
                <a:lnTo>
                  <a:pt x="0" y="6096"/>
                </a:lnTo>
                <a:lnTo>
                  <a:pt x="4572" y="6096"/>
                </a:lnTo>
                <a:lnTo>
                  <a:pt x="4572"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bg object 117"/>
          <p:cNvSpPr/>
          <p:nvPr/>
        </p:nvSpPr>
        <p:spPr>
          <a:xfrm>
            <a:off x="2269235" y="2275332"/>
            <a:ext cx="5080" cy="6350"/>
          </a:xfrm>
          <a:custGeom>
            <a:avLst/>
            <a:gdLst/>
            <a:ahLst/>
            <a:cxnLst/>
            <a:rect l="l" t="t" r="r" b="b"/>
            <a:pathLst>
              <a:path w="5080" h="6350">
                <a:moveTo>
                  <a:pt x="0" y="6096"/>
                </a:moveTo>
                <a:lnTo>
                  <a:pt x="4572" y="6096"/>
                </a:lnTo>
                <a:lnTo>
                  <a:pt x="4572" y="0"/>
                </a:lnTo>
                <a:lnTo>
                  <a:pt x="0" y="0"/>
                </a:lnTo>
                <a:lnTo>
                  <a:pt x="0" y="6096"/>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18" name="bg object 118"/>
          <p:cNvPicPr/>
          <p:nvPr/>
        </p:nvPicPr>
        <p:blipFill>
          <a:blip r:embed="rId40" cstate="print"/>
          <a:stretch>
            <a:fillRect/>
          </a:stretch>
        </p:blipFill>
        <p:spPr>
          <a:xfrm>
            <a:off x="3442715" y="2427744"/>
            <a:ext cx="169951" cy="351269"/>
          </a:xfrm>
          <a:prstGeom prst="rect">
            <a:avLst/>
          </a:prstGeom>
        </p:spPr>
      </p:pic>
      <p:sp>
        <p:nvSpPr>
          <p:cNvPr id="119" name="bg object 119"/>
          <p:cNvSpPr/>
          <p:nvPr/>
        </p:nvSpPr>
        <p:spPr>
          <a:xfrm>
            <a:off x="3457956" y="2404872"/>
            <a:ext cx="166370" cy="347980"/>
          </a:xfrm>
          <a:custGeom>
            <a:avLst/>
            <a:gdLst/>
            <a:ahLst/>
            <a:cxnLst/>
            <a:rect l="l" t="t" r="r" b="b"/>
            <a:pathLst>
              <a:path w="166370" h="347980">
                <a:moveTo>
                  <a:pt x="38735" y="0"/>
                </a:moveTo>
                <a:lnTo>
                  <a:pt x="11049" y="37973"/>
                </a:lnTo>
                <a:lnTo>
                  <a:pt x="0" y="48894"/>
                </a:lnTo>
                <a:lnTo>
                  <a:pt x="0" y="86867"/>
                </a:lnTo>
                <a:lnTo>
                  <a:pt x="22098" y="86867"/>
                </a:lnTo>
                <a:lnTo>
                  <a:pt x="0" y="227964"/>
                </a:lnTo>
                <a:lnTo>
                  <a:pt x="60960" y="347472"/>
                </a:lnTo>
                <a:lnTo>
                  <a:pt x="105156" y="320293"/>
                </a:lnTo>
                <a:lnTo>
                  <a:pt x="166116" y="227964"/>
                </a:lnTo>
                <a:lnTo>
                  <a:pt x="155067" y="217169"/>
                </a:lnTo>
                <a:lnTo>
                  <a:pt x="166116" y="206248"/>
                </a:lnTo>
                <a:lnTo>
                  <a:pt x="127381" y="206248"/>
                </a:lnTo>
                <a:lnTo>
                  <a:pt x="127381" y="179197"/>
                </a:lnTo>
                <a:lnTo>
                  <a:pt x="116332" y="124840"/>
                </a:lnTo>
                <a:lnTo>
                  <a:pt x="116332" y="48894"/>
                </a:lnTo>
                <a:lnTo>
                  <a:pt x="60960" y="10794"/>
                </a:lnTo>
                <a:lnTo>
                  <a:pt x="38735" y="0"/>
                </a:lnTo>
                <a:close/>
              </a:path>
              <a:path w="166370" h="347980">
                <a:moveTo>
                  <a:pt x="144018" y="189991"/>
                </a:moveTo>
                <a:lnTo>
                  <a:pt x="144018" y="206248"/>
                </a:lnTo>
                <a:lnTo>
                  <a:pt x="155067" y="206248"/>
                </a:lnTo>
                <a:lnTo>
                  <a:pt x="144018" y="189991"/>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bg object 120"/>
          <p:cNvSpPr/>
          <p:nvPr/>
        </p:nvSpPr>
        <p:spPr>
          <a:xfrm>
            <a:off x="3457956" y="2404872"/>
            <a:ext cx="166370" cy="347980"/>
          </a:xfrm>
          <a:custGeom>
            <a:avLst/>
            <a:gdLst/>
            <a:ahLst/>
            <a:cxnLst/>
            <a:rect l="l" t="t" r="r" b="b"/>
            <a:pathLst>
              <a:path w="166370" h="347980">
                <a:moveTo>
                  <a:pt x="155067" y="206248"/>
                </a:moveTo>
                <a:lnTo>
                  <a:pt x="155067" y="206248"/>
                </a:lnTo>
                <a:lnTo>
                  <a:pt x="155067" y="206248"/>
                </a:lnTo>
                <a:close/>
              </a:path>
              <a:path w="166370" h="347980">
                <a:moveTo>
                  <a:pt x="0" y="65150"/>
                </a:moveTo>
                <a:lnTo>
                  <a:pt x="0" y="48894"/>
                </a:lnTo>
                <a:lnTo>
                  <a:pt x="11049" y="37973"/>
                </a:lnTo>
                <a:lnTo>
                  <a:pt x="38735" y="0"/>
                </a:lnTo>
                <a:lnTo>
                  <a:pt x="60960" y="10794"/>
                </a:lnTo>
                <a:lnTo>
                  <a:pt x="116332" y="48894"/>
                </a:lnTo>
                <a:lnTo>
                  <a:pt x="116332" y="86867"/>
                </a:lnTo>
                <a:lnTo>
                  <a:pt x="116332" y="124840"/>
                </a:lnTo>
                <a:lnTo>
                  <a:pt x="127381" y="179197"/>
                </a:lnTo>
                <a:lnTo>
                  <a:pt x="127381" y="206248"/>
                </a:lnTo>
                <a:lnTo>
                  <a:pt x="144018" y="206248"/>
                </a:lnTo>
                <a:lnTo>
                  <a:pt x="144018" y="189991"/>
                </a:lnTo>
                <a:lnTo>
                  <a:pt x="155067" y="206248"/>
                </a:lnTo>
                <a:lnTo>
                  <a:pt x="166116" y="206248"/>
                </a:lnTo>
                <a:lnTo>
                  <a:pt x="155067" y="217169"/>
                </a:lnTo>
                <a:lnTo>
                  <a:pt x="166116" y="217169"/>
                </a:lnTo>
                <a:lnTo>
                  <a:pt x="155067" y="217169"/>
                </a:lnTo>
                <a:lnTo>
                  <a:pt x="166116" y="227964"/>
                </a:lnTo>
                <a:lnTo>
                  <a:pt x="105156" y="320293"/>
                </a:lnTo>
                <a:lnTo>
                  <a:pt x="60960" y="347472"/>
                </a:lnTo>
                <a:lnTo>
                  <a:pt x="0" y="227964"/>
                </a:lnTo>
                <a:lnTo>
                  <a:pt x="22098" y="86867"/>
                </a:lnTo>
                <a:lnTo>
                  <a:pt x="0" y="86867"/>
                </a:lnTo>
                <a:lnTo>
                  <a:pt x="0" y="75945"/>
                </a:lnTo>
                <a:lnTo>
                  <a:pt x="0" y="65150"/>
                </a:lnTo>
                <a:close/>
              </a:path>
              <a:path w="166370" h="347980">
                <a:moveTo>
                  <a:pt x="0" y="37973"/>
                </a:move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1" name="bg object 121"/>
          <p:cNvPicPr/>
          <p:nvPr/>
        </p:nvPicPr>
        <p:blipFill>
          <a:blip r:embed="rId41" cstate="print"/>
          <a:stretch>
            <a:fillRect/>
          </a:stretch>
        </p:blipFill>
        <p:spPr>
          <a:xfrm>
            <a:off x="4759452" y="3249104"/>
            <a:ext cx="147091" cy="50990"/>
          </a:xfrm>
          <a:prstGeom prst="rect">
            <a:avLst/>
          </a:prstGeom>
        </p:spPr>
      </p:pic>
      <p:sp>
        <p:nvSpPr>
          <p:cNvPr id="122" name="bg object 122"/>
          <p:cNvSpPr/>
          <p:nvPr/>
        </p:nvSpPr>
        <p:spPr>
          <a:xfrm>
            <a:off x="4851146" y="3250691"/>
            <a:ext cx="27940" cy="22860"/>
          </a:xfrm>
          <a:custGeom>
            <a:avLst/>
            <a:gdLst/>
            <a:ahLst/>
            <a:cxnLst/>
            <a:rect l="l" t="t" r="r" b="b"/>
            <a:pathLst>
              <a:path w="27939" h="22860">
                <a:moveTo>
                  <a:pt x="0" y="0"/>
                </a:moveTo>
                <a:lnTo>
                  <a:pt x="27812" y="22860"/>
                </a:lnTo>
                <a:lnTo>
                  <a:pt x="27812" y="11430"/>
                </a:lnTo>
                <a:lnTo>
                  <a:pt x="0" y="0"/>
                </a:lnTo>
                <a:close/>
              </a:path>
            </a:pathLst>
          </a:custGeom>
          <a:solidFill>
            <a:srgbClr val="5F5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bg object 123"/>
          <p:cNvSpPr/>
          <p:nvPr/>
        </p:nvSpPr>
        <p:spPr>
          <a:xfrm>
            <a:off x="4773167" y="3250691"/>
            <a:ext cx="144780" cy="22860"/>
          </a:xfrm>
          <a:custGeom>
            <a:avLst/>
            <a:gdLst/>
            <a:ahLst/>
            <a:cxnLst/>
            <a:rect l="l" t="t" r="r" b="b"/>
            <a:pathLst>
              <a:path w="144779" h="22860">
                <a:moveTo>
                  <a:pt x="144780" y="11430"/>
                </a:moveTo>
                <a:lnTo>
                  <a:pt x="133604" y="11430"/>
                </a:lnTo>
                <a:lnTo>
                  <a:pt x="144780" y="11430"/>
                </a:lnTo>
                <a:close/>
              </a:path>
              <a:path w="144779" h="22860">
                <a:moveTo>
                  <a:pt x="0" y="0"/>
                </a:moveTo>
                <a:lnTo>
                  <a:pt x="0" y="0"/>
                </a:lnTo>
                <a:lnTo>
                  <a:pt x="0" y="0"/>
                </a:lnTo>
                <a:close/>
              </a:path>
              <a:path w="144779" h="22860">
                <a:moveTo>
                  <a:pt x="16764" y="0"/>
                </a:moveTo>
                <a:lnTo>
                  <a:pt x="16764" y="0"/>
                </a:lnTo>
                <a:lnTo>
                  <a:pt x="16764" y="0"/>
                </a:lnTo>
                <a:close/>
              </a:path>
              <a:path w="144779" h="22860">
                <a:moveTo>
                  <a:pt x="105791" y="11430"/>
                </a:moveTo>
                <a:lnTo>
                  <a:pt x="105791" y="22860"/>
                </a:lnTo>
                <a:lnTo>
                  <a:pt x="77978" y="0"/>
                </a:lnTo>
                <a:lnTo>
                  <a:pt x="16764" y="0"/>
                </a:lnTo>
                <a:lnTo>
                  <a:pt x="77978" y="0"/>
                </a:lnTo>
                <a:lnTo>
                  <a:pt x="105791" y="1143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4" name="bg object 124"/>
          <p:cNvPicPr/>
          <p:nvPr/>
        </p:nvPicPr>
        <p:blipFill>
          <a:blip r:embed="rId42" cstate="print"/>
          <a:stretch>
            <a:fillRect/>
          </a:stretch>
        </p:blipFill>
        <p:spPr>
          <a:xfrm>
            <a:off x="3403091" y="2005583"/>
            <a:ext cx="390906" cy="464058"/>
          </a:xfrm>
          <a:prstGeom prst="rect">
            <a:avLst/>
          </a:prstGeom>
        </p:spPr>
      </p:pic>
      <p:sp>
        <p:nvSpPr>
          <p:cNvPr id="125" name="bg object 125"/>
          <p:cNvSpPr/>
          <p:nvPr/>
        </p:nvSpPr>
        <p:spPr>
          <a:xfrm>
            <a:off x="3418332" y="1982723"/>
            <a:ext cx="387350" cy="460375"/>
          </a:xfrm>
          <a:custGeom>
            <a:avLst/>
            <a:gdLst/>
            <a:ahLst/>
            <a:cxnLst/>
            <a:rect l="l" t="t" r="r" b="b"/>
            <a:pathLst>
              <a:path w="387350" h="460375">
                <a:moveTo>
                  <a:pt x="60832" y="0"/>
                </a:moveTo>
                <a:lnTo>
                  <a:pt x="0" y="27050"/>
                </a:lnTo>
                <a:lnTo>
                  <a:pt x="11048" y="129921"/>
                </a:lnTo>
                <a:lnTo>
                  <a:pt x="11048" y="151637"/>
                </a:lnTo>
                <a:lnTo>
                  <a:pt x="38734" y="151637"/>
                </a:lnTo>
                <a:lnTo>
                  <a:pt x="22097" y="227456"/>
                </a:lnTo>
                <a:lnTo>
                  <a:pt x="22097" y="319404"/>
                </a:lnTo>
                <a:lnTo>
                  <a:pt x="60832" y="357377"/>
                </a:lnTo>
                <a:lnTo>
                  <a:pt x="143763" y="395224"/>
                </a:lnTo>
                <a:lnTo>
                  <a:pt x="182498" y="346583"/>
                </a:lnTo>
                <a:lnTo>
                  <a:pt x="287527" y="422401"/>
                </a:lnTo>
                <a:lnTo>
                  <a:pt x="259968" y="460248"/>
                </a:lnTo>
                <a:lnTo>
                  <a:pt x="337312" y="460248"/>
                </a:lnTo>
                <a:lnTo>
                  <a:pt x="337312" y="395224"/>
                </a:lnTo>
                <a:lnTo>
                  <a:pt x="387095" y="368173"/>
                </a:lnTo>
                <a:lnTo>
                  <a:pt x="337312" y="281559"/>
                </a:lnTo>
                <a:lnTo>
                  <a:pt x="364997" y="227456"/>
                </a:lnTo>
                <a:lnTo>
                  <a:pt x="337312" y="178688"/>
                </a:lnTo>
                <a:lnTo>
                  <a:pt x="309625" y="205739"/>
                </a:lnTo>
                <a:lnTo>
                  <a:pt x="243331" y="167893"/>
                </a:lnTo>
                <a:lnTo>
                  <a:pt x="259968" y="129921"/>
                </a:lnTo>
                <a:lnTo>
                  <a:pt x="182498" y="75818"/>
                </a:lnTo>
                <a:lnTo>
                  <a:pt x="127126" y="10795"/>
                </a:lnTo>
                <a:lnTo>
                  <a:pt x="60832"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bg object 126"/>
          <p:cNvSpPr/>
          <p:nvPr/>
        </p:nvSpPr>
        <p:spPr>
          <a:xfrm>
            <a:off x="3418332" y="1982723"/>
            <a:ext cx="387350" cy="460375"/>
          </a:xfrm>
          <a:custGeom>
            <a:avLst/>
            <a:gdLst/>
            <a:ahLst/>
            <a:cxnLst/>
            <a:rect l="l" t="t" r="r" b="b"/>
            <a:pathLst>
              <a:path w="387350" h="460375">
                <a:moveTo>
                  <a:pt x="22097" y="319404"/>
                </a:moveTo>
                <a:lnTo>
                  <a:pt x="22097" y="227456"/>
                </a:lnTo>
                <a:lnTo>
                  <a:pt x="38734" y="151637"/>
                </a:lnTo>
                <a:lnTo>
                  <a:pt x="11048" y="151637"/>
                </a:lnTo>
                <a:lnTo>
                  <a:pt x="11048" y="129921"/>
                </a:lnTo>
                <a:lnTo>
                  <a:pt x="0" y="27050"/>
                </a:lnTo>
                <a:lnTo>
                  <a:pt x="60832" y="0"/>
                </a:lnTo>
                <a:lnTo>
                  <a:pt x="127126" y="10795"/>
                </a:lnTo>
                <a:lnTo>
                  <a:pt x="182498" y="75818"/>
                </a:lnTo>
                <a:lnTo>
                  <a:pt x="259968" y="129921"/>
                </a:lnTo>
                <a:lnTo>
                  <a:pt x="243331" y="167893"/>
                </a:lnTo>
                <a:lnTo>
                  <a:pt x="309625" y="205739"/>
                </a:lnTo>
                <a:lnTo>
                  <a:pt x="337312" y="178688"/>
                </a:lnTo>
                <a:lnTo>
                  <a:pt x="364997" y="227456"/>
                </a:lnTo>
                <a:lnTo>
                  <a:pt x="337312" y="281559"/>
                </a:lnTo>
                <a:lnTo>
                  <a:pt x="387095" y="368173"/>
                </a:lnTo>
                <a:lnTo>
                  <a:pt x="337312" y="395224"/>
                </a:lnTo>
                <a:lnTo>
                  <a:pt x="337312" y="460248"/>
                </a:lnTo>
                <a:lnTo>
                  <a:pt x="298576" y="460248"/>
                </a:lnTo>
                <a:lnTo>
                  <a:pt x="259968" y="460248"/>
                </a:lnTo>
                <a:lnTo>
                  <a:pt x="287527" y="422401"/>
                </a:lnTo>
                <a:lnTo>
                  <a:pt x="182498" y="346583"/>
                </a:lnTo>
                <a:lnTo>
                  <a:pt x="143763" y="395224"/>
                </a:lnTo>
                <a:lnTo>
                  <a:pt x="60832" y="357377"/>
                </a:lnTo>
                <a:lnTo>
                  <a:pt x="22097" y="319404"/>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7" name="bg object 127"/>
          <p:cNvPicPr/>
          <p:nvPr/>
        </p:nvPicPr>
        <p:blipFill>
          <a:blip r:embed="rId43" cstate="print"/>
          <a:stretch>
            <a:fillRect/>
          </a:stretch>
        </p:blipFill>
        <p:spPr>
          <a:xfrm>
            <a:off x="3348227" y="2325611"/>
            <a:ext cx="203453" cy="192798"/>
          </a:xfrm>
          <a:prstGeom prst="rect">
            <a:avLst/>
          </a:prstGeom>
        </p:spPr>
      </p:pic>
      <p:pic>
        <p:nvPicPr>
          <p:cNvPr id="128" name="bg object 128"/>
          <p:cNvPicPr/>
          <p:nvPr/>
        </p:nvPicPr>
        <p:blipFill>
          <a:blip r:embed="rId44" cstate="print"/>
          <a:stretch>
            <a:fillRect/>
          </a:stretch>
        </p:blipFill>
        <p:spPr>
          <a:xfrm>
            <a:off x="3361880" y="2301176"/>
            <a:ext cx="202819" cy="192150"/>
          </a:xfrm>
          <a:prstGeom prst="rect">
            <a:avLst/>
          </a:prstGeom>
        </p:spPr>
      </p:pic>
      <p:pic>
        <p:nvPicPr>
          <p:cNvPr id="129" name="bg object 129"/>
          <p:cNvPicPr/>
          <p:nvPr/>
        </p:nvPicPr>
        <p:blipFill>
          <a:blip r:embed="rId45" cstate="print"/>
          <a:stretch>
            <a:fillRect/>
          </a:stretch>
        </p:blipFill>
        <p:spPr>
          <a:xfrm>
            <a:off x="3713988" y="1225295"/>
            <a:ext cx="1794510" cy="1000505"/>
          </a:xfrm>
          <a:prstGeom prst="rect">
            <a:avLst/>
          </a:prstGeom>
        </p:spPr>
      </p:pic>
      <p:sp>
        <p:nvSpPr>
          <p:cNvPr id="130" name="bg object 130"/>
          <p:cNvSpPr/>
          <p:nvPr/>
        </p:nvSpPr>
        <p:spPr>
          <a:xfrm>
            <a:off x="3729227" y="1202436"/>
            <a:ext cx="1790700" cy="996950"/>
          </a:xfrm>
          <a:custGeom>
            <a:avLst/>
            <a:gdLst/>
            <a:ahLst/>
            <a:cxnLst/>
            <a:rect l="l" t="t" r="r" b="b"/>
            <a:pathLst>
              <a:path w="1790700" h="996950">
                <a:moveTo>
                  <a:pt x="1370711" y="725804"/>
                </a:moveTo>
                <a:lnTo>
                  <a:pt x="900938" y="725804"/>
                </a:lnTo>
                <a:lnTo>
                  <a:pt x="1016888" y="742061"/>
                </a:lnTo>
                <a:lnTo>
                  <a:pt x="967232" y="780034"/>
                </a:lnTo>
                <a:lnTo>
                  <a:pt x="1160652" y="807085"/>
                </a:lnTo>
                <a:lnTo>
                  <a:pt x="1072261" y="845058"/>
                </a:lnTo>
                <a:lnTo>
                  <a:pt x="1072261" y="882903"/>
                </a:lnTo>
                <a:lnTo>
                  <a:pt x="1138555" y="910081"/>
                </a:lnTo>
                <a:lnTo>
                  <a:pt x="1138555" y="958723"/>
                </a:lnTo>
                <a:lnTo>
                  <a:pt x="1177163" y="996696"/>
                </a:lnTo>
                <a:lnTo>
                  <a:pt x="1226947" y="958723"/>
                </a:lnTo>
                <a:lnTo>
                  <a:pt x="1293241" y="947927"/>
                </a:lnTo>
                <a:lnTo>
                  <a:pt x="1348613" y="910081"/>
                </a:lnTo>
                <a:lnTo>
                  <a:pt x="1425956" y="910081"/>
                </a:lnTo>
                <a:lnTo>
                  <a:pt x="1432869" y="882903"/>
                </a:lnTo>
                <a:lnTo>
                  <a:pt x="1331976" y="882903"/>
                </a:lnTo>
                <a:lnTo>
                  <a:pt x="1307586" y="845058"/>
                </a:lnTo>
                <a:lnTo>
                  <a:pt x="1282192" y="845058"/>
                </a:lnTo>
                <a:lnTo>
                  <a:pt x="1188212" y="790828"/>
                </a:lnTo>
                <a:lnTo>
                  <a:pt x="1204849" y="769238"/>
                </a:lnTo>
                <a:lnTo>
                  <a:pt x="1286589" y="769238"/>
                </a:lnTo>
                <a:lnTo>
                  <a:pt x="1370711" y="725804"/>
                </a:lnTo>
                <a:close/>
              </a:path>
              <a:path w="1790700" h="996950">
                <a:moveTo>
                  <a:pt x="679831" y="742061"/>
                </a:moveTo>
                <a:lnTo>
                  <a:pt x="679831" y="807085"/>
                </a:lnTo>
                <a:lnTo>
                  <a:pt x="602488" y="866648"/>
                </a:lnTo>
                <a:lnTo>
                  <a:pt x="668782" y="893826"/>
                </a:lnTo>
                <a:lnTo>
                  <a:pt x="718438" y="866648"/>
                </a:lnTo>
                <a:lnTo>
                  <a:pt x="766445" y="866648"/>
                </a:lnTo>
                <a:lnTo>
                  <a:pt x="773811" y="845058"/>
                </a:lnTo>
                <a:lnTo>
                  <a:pt x="833100" y="789440"/>
                </a:lnTo>
                <a:lnTo>
                  <a:pt x="795909" y="752983"/>
                </a:lnTo>
                <a:lnTo>
                  <a:pt x="679831" y="742061"/>
                </a:lnTo>
                <a:close/>
              </a:path>
              <a:path w="1790700" h="996950">
                <a:moveTo>
                  <a:pt x="766445" y="866648"/>
                </a:moveTo>
                <a:lnTo>
                  <a:pt x="718438" y="866648"/>
                </a:lnTo>
                <a:lnTo>
                  <a:pt x="757174" y="893826"/>
                </a:lnTo>
                <a:lnTo>
                  <a:pt x="766445" y="866648"/>
                </a:lnTo>
                <a:close/>
              </a:path>
              <a:path w="1790700" h="996950">
                <a:moveTo>
                  <a:pt x="1437005" y="866648"/>
                </a:moveTo>
                <a:lnTo>
                  <a:pt x="1331976" y="882903"/>
                </a:lnTo>
                <a:lnTo>
                  <a:pt x="1432869" y="882903"/>
                </a:lnTo>
                <a:lnTo>
                  <a:pt x="1437005" y="866648"/>
                </a:lnTo>
                <a:close/>
              </a:path>
              <a:path w="1790700" h="996950">
                <a:moveTo>
                  <a:pt x="1286589" y="769238"/>
                </a:moveTo>
                <a:lnTo>
                  <a:pt x="1204849" y="769238"/>
                </a:lnTo>
                <a:lnTo>
                  <a:pt x="1265682" y="790828"/>
                </a:lnTo>
                <a:lnTo>
                  <a:pt x="1282192" y="845058"/>
                </a:lnTo>
                <a:lnTo>
                  <a:pt x="1307586" y="845058"/>
                </a:lnTo>
                <a:lnTo>
                  <a:pt x="1265682" y="780034"/>
                </a:lnTo>
                <a:lnTo>
                  <a:pt x="1286589" y="769238"/>
                </a:lnTo>
                <a:close/>
              </a:path>
              <a:path w="1790700" h="996950">
                <a:moveTo>
                  <a:pt x="834517" y="788112"/>
                </a:moveTo>
                <a:lnTo>
                  <a:pt x="833100" y="789440"/>
                </a:lnTo>
                <a:lnTo>
                  <a:pt x="834517" y="790828"/>
                </a:lnTo>
                <a:lnTo>
                  <a:pt x="834517" y="788112"/>
                </a:lnTo>
                <a:close/>
              </a:path>
              <a:path w="1790700" h="996950">
                <a:moveTo>
                  <a:pt x="1764869" y="498348"/>
                </a:moveTo>
                <a:lnTo>
                  <a:pt x="563752" y="498348"/>
                </a:lnTo>
                <a:lnTo>
                  <a:pt x="707389" y="574166"/>
                </a:lnTo>
                <a:lnTo>
                  <a:pt x="707389" y="612139"/>
                </a:lnTo>
                <a:lnTo>
                  <a:pt x="746125" y="639190"/>
                </a:lnTo>
                <a:lnTo>
                  <a:pt x="746125" y="687959"/>
                </a:lnTo>
                <a:lnTo>
                  <a:pt x="795909" y="752983"/>
                </a:lnTo>
                <a:lnTo>
                  <a:pt x="812419" y="752983"/>
                </a:lnTo>
                <a:lnTo>
                  <a:pt x="834517" y="780034"/>
                </a:lnTo>
                <a:lnTo>
                  <a:pt x="834517" y="788112"/>
                </a:lnTo>
                <a:lnTo>
                  <a:pt x="900938" y="725804"/>
                </a:lnTo>
                <a:lnTo>
                  <a:pt x="1370711" y="725804"/>
                </a:lnTo>
                <a:lnTo>
                  <a:pt x="1608327" y="666241"/>
                </a:lnTo>
                <a:lnTo>
                  <a:pt x="1619377" y="601217"/>
                </a:lnTo>
                <a:lnTo>
                  <a:pt x="1674622" y="574166"/>
                </a:lnTo>
                <a:lnTo>
                  <a:pt x="1751964" y="574166"/>
                </a:lnTo>
                <a:lnTo>
                  <a:pt x="1774063" y="525399"/>
                </a:lnTo>
                <a:lnTo>
                  <a:pt x="1764869" y="498348"/>
                </a:lnTo>
                <a:close/>
              </a:path>
              <a:path w="1790700" h="996950">
                <a:moveTo>
                  <a:pt x="55245" y="422528"/>
                </a:moveTo>
                <a:lnTo>
                  <a:pt x="27686" y="471297"/>
                </a:lnTo>
                <a:lnTo>
                  <a:pt x="0" y="498348"/>
                </a:lnTo>
                <a:lnTo>
                  <a:pt x="55245" y="547115"/>
                </a:lnTo>
                <a:lnTo>
                  <a:pt x="77343" y="563372"/>
                </a:lnTo>
                <a:lnTo>
                  <a:pt x="315087" y="574166"/>
                </a:lnTo>
                <a:lnTo>
                  <a:pt x="403479" y="547115"/>
                </a:lnTo>
                <a:lnTo>
                  <a:pt x="447675" y="525399"/>
                </a:lnTo>
                <a:lnTo>
                  <a:pt x="563752" y="498348"/>
                </a:lnTo>
                <a:lnTo>
                  <a:pt x="1764869" y="498348"/>
                </a:lnTo>
                <a:lnTo>
                  <a:pt x="1751964" y="460375"/>
                </a:lnTo>
                <a:lnTo>
                  <a:pt x="1768110" y="433324"/>
                </a:lnTo>
                <a:lnTo>
                  <a:pt x="77343" y="433324"/>
                </a:lnTo>
                <a:lnTo>
                  <a:pt x="55245" y="422528"/>
                </a:lnTo>
                <a:close/>
              </a:path>
              <a:path w="1790700" h="996950">
                <a:moveTo>
                  <a:pt x="364744" y="65024"/>
                </a:moveTo>
                <a:lnTo>
                  <a:pt x="237617" y="65024"/>
                </a:lnTo>
                <a:lnTo>
                  <a:pt x="160274" y="113791"/>
                </a:lnTo>
                <a:lnTo>
                  <a:pt x="210058" y="189611"/>
                </a:lnTo>
                <a:lnTo>
                  <a:pt x="199009" y="243712"/>
                </a:lnTo>
                <a:lnTo>
                  <a:pt x="105029" y="308737"/>
                </a:lnTo>
                <a:lnTo>
                  <a:pt x="55245" y="368300"/>
                </a:lnTo>
                <a:lnTo>
                  <a:pt x="77343" y="433324"/>
                </a:lnTo>
                <a:lnTo>
                  <a:pt x="1768110" y="433324"/>
                </a:lnTo>
                <a:lnTo>
                  <a:pt x="1790700" y="395477"/>
                </a:lnTo>
                <a:lnTo>
                  <a:pt x="1696720" y="319531"/>
                </a:lnTo>
                <a:lnTo>
                  <a:pt x="1580642" y="319531"/>
                </a:lnTo>
                <a:lnTo>
                  <a:pt x="1551683" y="281686"/>
                </a:lnTo>
                <a:lnTo>
                  <a:pt x="1448054" y="281686"/>
                </a:lnTo>
                <a:lnTo>
                  <a:pt x="1348613" y="265429"/>
                </a:lnTo>
                <a:lnTo>
                  <a:pt x="1293241" y="151637"/>
                </a:lnTo>
                <a:lnTo>
                  <a:pt x="1204849" y="140842"/>
                </a:lnTo>
                <a:lnTo>
                  <a:pt x="1211473" y="124587"/>
                </a:lnTo>
                <a:lnTo>
                  <a:pt x="718438" y="124587"/>
                </a:lnTo>
                <a:lnTo>
                  <a:pt x="658444" y="102869"/>
                </a:lnTo>
                <a:lnTo>
                  <a:pt x="508508" y="102869"/>
                </a:lnTo>
                <a:lnTo>
                  <a:pt x="364744" y="65024"/>
                </a:lnTo>
                <a:close/>
              </a:path>
              <a:path w="1790700" h="996950">
                <a:moveTo>
                  <a:pt x="1591691" y="292480"/>
                </a:moveTo>
                <a:lnTo>
                  <a:pt x="1580642" y="319531"/>
                </a:lnTo>
                <a:lnTo>
                  <a:pt x="1696720" y="319531"/>
                </a:lnTo>
                <a:lnTo>
                  <a:pt x="1591691" y="292480"/>
                </a:lnTo>
                <a:close/>
              </a:path>
              <a:path w="1790700" h="996950">
                <a:moveTo>
                  <a:pt x="1530985" y="254635"/>
                </a:moveTo>
                <a:lnTo>
                  <a:pt x="1448054" y="281686"/>
                </a:lnTo>
                <a:lnTo>
                  <a:pt x="1551683" y="281686"/>
                </a:lnTo>
                <a:lnTo>
                  <a:pt x="1530985" y="254635"/>
                </a:lnTo>
                <a:close/>
              </a:path>
              <a:path w="1790700" h="996950">
                <a:moveTo>
                  <a:pt x="1160652" y="0"/>
                </a:moveTo>
                <a:lnTo>
                  <a:pt x="1016888" y="10794"/>
                </a:lnTo>
                <a:lnTo>
                  <a:pt x="967232" y="37973"/>
                </a:lnTo>
                <a:lnTo>
                  <a:pt x="878713" y="37973"/>
                </a:lnTo>
                <a:lnTo>
                  <a:pt x="834517" y="102869"/>
                </a:lnTo>
                <a:lnTo>
                  <a:pt x="718438" y="124587"/>
                </a:lnTo>
                <a:lnTo>
                  <a:pt x="1211473" y="124587"/>
                </a:lnTo>
                <a:lnTo>
                  <a:pt x="1226947" y="86613"/>
                </a:lnTo>
                <a:lnTo>
                  <a:pt x="1160652" y="0"/>
                </a:lnTo>
                <a:close/>
              </a:path>
              <a:path w="1790700" h="996950">
                <a:moveTo>
                  <a:pt x="613537" y="86613"/>
                </a:moveTo>
                <a:lnTo>
                  <a:pt x="508508" y="102869"/>
                </a:lnTo>
                <a:lnTo>
                  <a:pt x="658444" y="102869"/>
                </a:lnTo>
                <a:lnTo>
                  <a:pt x="613537" y="86613"/>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bg object 131"/>
          <p:cNvSpPr/>
          <p:nvPr/>
        </p:nvSpPr>
        <p:spPr>
          <a:xfrm>
            <a:off x="3729227" y="1202436"/>
            <a:ext cx="1790700" cy="996950"/>
          </a:xfrm>
          <a:custGeom>
            <a:avLst/>
            <a:gdLst/>
            <a:ahLst/>
            <a:cxnLst/>
            <a:rect l="l" t="t" r="r" b="b"/>
            <a:pathLst>
              <a:path w="1790700" h="996950">
                <a:moveTo>
                  <a:pt x="0" y="498348"/>
                </a:moveTo>
                <a:lnTo>
                  <a:pt x="27686" y="471297"/>
                </a:lnTo>
                <a:lnTo>
                  <a:pt x="55245" y="422528"/>
                </a:lnTo>
                <a:lnTo>
                  <a:pt x="77343" y="433324"/>
                </a:lnTo>
                <a:lnTo>
                  <a:pt x="55245" y="368300"/>
                </a:lnTo>
                <a:lnTo>
                  <a:pt x="105029" y="308737"/>
                </a:lnTo>
                <a:lnTo>
                  <a:pt x="199009" y="243712"/>
                </a:lnTo>
                <a:lnTo>
                  <a:pt x="210058" y="189611"/>
                </a:lnTo>
                <a:lnTo>
                  <a:pt x="160274" y="113791"/>
                </a:lnTo>
                <a:lnTo>
                  <a:pt x="237617" y="65024"/>
                </a:lnTo>
                <a:lnTo>
                  <a:pt x="364744" y="65024"/>
                </a:lnTo>
                <a:lnTo>
                  <a:pt x="508508" y="102869"/>
                </a:lnTo>
                <a:lnTo>
                  <a:pt x="613537" y="86613"/>
                </a:lnTo>
                <a:lnTo>
                  <a:pt x="718438" y="124587"/>
                </a:lnTo>
                <a:lnTo>
                  <a:pt x="834517" y="102869"/>
                </a:lnTo>
                <a:lnTo>
                  <a:pt x="878713" y="37973"/>
                </a:lnTo>
                <a:lnTo>
                  <a:pt x="967232" y="37973"/>
                </a:lnTo>
                <a:lnTo>
                  <a:pt x="1016888" y="10794"/>
                </a:lnTo>
                <a:lnTo>
                  <a:pt x="1160652" y="0"/>
                </a:lnTo>
                <a:lnTo>
                  <a:pt x="1226947" y="86613"/>
                </a:lnTo>
                <a:lnTo>
                  <a:pt x="1204849" y="140842"/>
                </a:lnTo>
                <a:lnTo>
                  <a:pt x="1293241" y="151637"/>
                </a:lnTo>
                <a:lnTo>
                  <a:pt x="1348613" y="265429"/>
                </a:lnTo>
                <a:lnTo>
                  <a:pt x="1448054" y="281686"/>
                </a:lnTo>
                <a:lnTo>
                  <a:pt x="1530985" y="254635"/>
                </a:lnTo>
                <a:lnTo>
                  <a:pt x="1580642" y="319531"/>
                </a:lnTo>
                <a:lnTo>
                  <a:pt x="1591691" y="292480"/>
                </a:lnTo>
                <a:lnTo>
                  <a:pt x="1696720" y="319531"/>
                </a:lnTo>
                <a:lnTo>
                  <a:pt x="1790700" y="395477"/>
                </a:lnTo>
                <a:lnTo>
                  <a:pt x="1751964" y="460375"/>
                </a:lnTo>
                <a:lnTo>
                  <a:pt x="1774063" y="525399"/>
                </a:lnTo>
                <a:lnTo>
                  <a:pt x="1751964" y="574166"/>
                </a:lnTo>
                <a:lnTo>
                  <a:pt x="1674622" y="574166"/>
                </a:lnTo>
                <a:lnTo>
                  <a:pt x="1619377" y="601217"/>
                </a:lnTo>
                <a:lnTo>
                  <a:pt x="1608327" y="666241"/>
                </a:lnTo>
                <a:lnTo>
                  <a:pt x="1370711" y="725804"/>
                </a:lnTo>
                <a:lnTo>
                  <a:pt x="1265682" y="780034"/>
                </a:lnTo>
                <a:lnTo>
                  <a:pt x="1331976" y="882903"/>
                </a:lnTo>
                <a:lnTo>
                  <a:pt x="1437005" y="866648"/>
                </a:lnTo>
                <a:lnTo>
                  <a:pt x="1425956" y="910081"/>
                </a:lnTo>
                <a:lnTo>
                  <a:pt x="1348613" y="910081"/>
                </a:lnTo>
                <a:lnTo>
                  <a:pt x="1293241" y="947927"/>
                </a:lnTo>
                <a:lnTo>
                  <a:pt x="1226947" y="958723"/>
                </a:lnTo>
                <a:lnTo>
                  <a:pt x="1177163" y="996696"/>
                </a:lnTo>
                <a:lnTo>
                  <a:pt x="1138555" y="958723"/>
                </a:lnTo>
                <a:lnTo>
                  <a:pt x="1138555" y="910081"/>
                </a:lnTo>
                <a:lnTo>
                  <a:pt x="1072261" y="882903"/>
                </a:lnTo>
                <a:lnTo>
                  <a:pt x="1072261" y="845058"/>
                </a:lnTo>
                <a:lnTo>
                  <a:pt x="1160652" y="807085"/>
                </a:lnTo>
                <a:lnTo>
                  <a:pt x="967232" y="780034"/>
                </a:lnTo>
                <a:lnTo>
                  <a:pt x="1016888" y="742061"/>
                </a:lnTo>
                <a:lnTo>
                  <a:pt x="900938" y="725804"/>
                </a:lnTo>
                <a:lnTo>
                  <a:pt x="773811" y="845058"/>
                </a:lnTo>
                <a:lnTo>
                  <a:pt x="757174" y="893826"/>
                </a:lnTo>
                <a:lnTo>
                  <a:pt x="718438" y="866648"/>
                </a:lnTo>
                <a:lnTo>
                  <a:pt x="668782" y="893826"/>
                </a:lnTo>
                <a:lnTo>
                  <a:pt x="602488" y="866648"/>
                </a:lnTo>
                <a:lnTo>
                  <a:pt x="679831" y="807085"/>
                </a:lnTo>
                <a:lnTo>
                  <a:pt x="679831" y="742061"/>
                </a:lnTo>
                <a:lnTo>
                  <a:pt x="795909" y="752983"/>
                </a:lnTo>
                <a:lnTo>
                  <a:pt x="746125" y="687959"/>
                </a:lnTo>
                <a:lnTo>
                  <a:pt x="746125" y="639190"/>
                </a:lnTo>
                <a:lnTo>
                  <a:pt x="707389" y="612139"/>
                </a:lnTo>
                <a:lnTo>
                  <a:pt x="707389" y="574166"/>
                </a:lnTo>
                <a:lnTo>
                  <a:pt x="563752" y="498348"/>
                </a:lnTo>
                <a:lnTo>
                  <a:pt x="447675" y="525399"/>
                </a:lnTo>
                <a:lnTo>
                  <a:pt x="403479" y="547115"/>
                </a:lnTo>
                <a:lnTo>
                  <a:pt x="315087" y="574166"/>
                </a:lnTo>
                <a:lnTo>
                  <a:pt x="77343" y="563372"/>
                </a:lnTo>
                <a:lnTo>
                  <a:pt x="55245" y="547115"/>
                </a:lnTo>
                <a:lnTo>
                  <a:pt x="0" y="498348"/>
                </a:lnTo>
                <a:close/>
              </a:path>
              <a:path w="1790700" h="996950">
                <a:moveTo>
                  <a:pt x="795909" y="752983"/>
                </a:moveTo>
                <a:lnTo>
                  <a:pt x="834517" y="790828"/>
                </a:lnTo>
                <a:lnTo>
                  <a:pt x="834517" y="780034"/>
                </a:lnTo>
                <a:lnTo>
                  <a:pt x="812419" y="752983"/>
                </a:lnTo>
                <a:lnTo>
                  <a:pt x="795909" y="752983"/>
                </a:lnTo>
                <a:close/>
              </a:path>
              <a:path w="1790700" h="996950">
                <a:moveTo>
                  <a:pt x="1188212" y="790828"/>
                </a:moveTo>
                <a:lnTo>
                  <a:pt x="1282192" y="845058"/>
                </a:lnTo>
                <a:lnTo>
                  <a:pt x="1265682" y="790828"/>
                </a:lnTo>
                <a:lnTo>
                  <a:pt x="1204849" y="769238"/>
                </a:lnTo>
                <a:lnTo>
                  <a:pt x="1188212" y="790828"/>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2" name="bg object 132"/>
          <p:cNvPicPr/>
          <p:nvPr/>
        </p:nvPicPr>
        <p:blipFill>
          <a:blip r:embed="rId46" cstate="print"/>
          <a:stretch>
            <a:fillRect/>
          </a:stretch>
        </p:blipFill>
        <p:spPr>
          <a:xfrm>
            <a:off x="3192779" y="1583436"/>
            <a:ext cx="579882" cy="230886"/>
          </a:xfrm>
          <a:prstGeom prst="rect">
            <a:avLst/>
          </a:prstGeom>
        </p:spPr>
      </p:pic>
      <p:sp>
        <p:nvSpPr>
          <p:cNvPr id="133" name="bg object 133"/>
          <p:cNvSpPr/>
          <p:nvPr/>
        </p:nvSpPr>
        <p:spPr>
          <a:xfrm>
            <a:off x="3208019" y="1560575"/>
            <a:ext cx="576580" cy="227329"/>
          </a:xfrm>
          <a:custGeom>
            <a:avLst/>
            <a:gdLst/>
            <a:ahLst/>
            <a:cxnLst/>
            <a:rect l="l" t="t" r="r" b="b"/>
            <a:pathLst>
              <a:path w="576579" h="227330">
                <a:moveTo>
                  <a:pt x="260350" y="0"/>
                </a:moveTo>
                <a:lnTo>
                  <a:pt x="193929" y="10795"/>
                </a:lnTo>
                <a:lnTo>
                  <a:pt x="127381" y="64897"/>
                </a:lnTo>
                <a:lnTo>
                  <a:pt x="11049" y="113537"/>
                </a:lnTo>
                <a:lnTo>
                  <a:pt x="0" y="151384"/>
                </a:lnTo>
                <a:lnTo>
                  <a:pt x="22098" y="189229"/>
                </a:lnTo>
                <a:lnTo>
                  <a:pt x="105282" y="227075"/>
                </a:lnTo>
                <a:lnTo>
                  <a:pt x="193929" y="216281"/>
                </a:lnTo>
                <a:lnTo>
                  <a:pt x="193929" y="189229"/>
                </a:lnTo>
                <a:lnTo>
                  <a:pt x="310133" y="178435"/>
                </a:lnTo>
                <a:lnTo>
                  <a:pt x="365632" y="129794"/>
                </a:lnTo>
                <a:lnTo>
                  <a:pt x="454152" y="129794"/>
                </a:lnTo>
                <a:lnTo>
                  <a:pt x="520700" y="140588"/>
                </a:lnTo>
                <a:lnTo>
                  <a:pt x="548385" y="113537"/>
                </a:lnTo>
                <a:lnTo>
                  <a:pt x="576071" y="64897"/>
                </a:lnTo>
                <a:lnTo>
                  <a:pt x="498475" y="27050"/>
                </a:lnTo>
                <a:lnTo>
                  <a:pt x="337946" y="27050"/>
                </a:lnTo>
                <a:lnTo>
                  <a:pt x="310133" y="48640"/>
                </a:lnTo>
                <a:lnTo>
                  <a:pt x="260350"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bg object 134"/>
          <p:cNvSpPr/>
          <p:nvPr/>
        </p:nvSpPr>
        <p:spPr>
          <a:xfrm>
            <a:off x="3208019" y="1560575"/>
            <a:ext cx="576580" cy="227329"/>
          </a:xfrm>
          <a:custGeom>
            <a:avLst/>
            <a:gdLst/>
            <a:ahLst/>
            <a:cxnLst/>
            <a:rect l="l" t="t" r="r" b="b"/>
            <a:pathLst>
              <a:path w="576579" h="227330">
                <a:moveTo>
                  <a:pt x="576071" y="64897"/>
                </a:moveTo>
                <a:lnTo>
                  <a:pt x="548385" y="113537"/>
                </a:lnTo>
                <a:lnTo>
                  <a:pt x="520700" y="140588"/>
                </a:lnTo>
                <a:lnTo>
                  <a:pt x="454152" y="129794"/>
                </a:lnTo>
                <a:lnTo>
                  <a:pt x="365632" y="129794"/>
                </a:lnTo>
                <a:lnTo>
                  <a:pt x="310133" y="178435"/>
                </a:lnTo>
                <a:lnTo>
                  <a:pt x="193929" y="189229"/>
                </a:lnTo>
                <a:lnTo>
                  <a:pt x="193929" y="216281"/>
                </a:lnTo>
                <a:lnTo>
                  <a:pt x="105282" y="227075"/>
                </a:lnTo>
                <a:lnTo>
                  <a:pt x="22098" y="189229"/>
                </a:lnTo>
                <a:lnTo>
                  <a:pt x="0" y="151384"/>
                </a:lnTo>
                <a:lnTo>
                  <a:pt x="11049" y="113537"/>
                </a:lnTo>
                <a:lnTo>
                  <a:pt x="127381" y="64897"/>
                </a:lnTo>
                <a:lnTo>
                  <a:pt x="193929" y="10795"/>
                </a:lnTo>
                <a:lnTo>
                  <a:pt x="260350" y="0"/>
                </a:lnTo>
                <a:lnTo>
                  <a:pt x="310133" y="48640"/>
                </a:lnTo>
                <a:lnTo>
                  <a:pt x="337946" y="27050"/>
                </a:lnTo>
                <a:lnTo>
                  <a:pt x="498475" y="27050"/>
                </a:lnTo>
                <a:lnTo>
                  <a:pt x="576071" y="64897"/>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5" name="bg object 135"/>
          <p:cNvPicPr/>
          <p:nvPr/>
        </p:nvPicPr>
        <p:blipFill>
          <a:blip r:embed="rId47" cstate="print"/>
          <a:stretch>
            <a:fillRect/>
          </a:stretch>
        </p:blipFill>
        <p:spPr>
          <a:xfrm>
            <a:off x="3741420" y="2232660"/>
            <a:ext cx="616458" cy="368046"/>
          </a:xfrm>
          <a:prstGeom prst="rect">
            <a:avLst/>
          </a:prstGeom>
        </p:spPr>
      </p:pic>
      <p:sp>
        <p:nvSpPr>
          <p:cNvPr id="136" name="bg object 136"/>
          <p:cNvSpPr/>
          <p:nvPr/>
        </p:nvSpPr>
        <p:spPr>
          <a:xfrm>
            <a:off x="3756659" y="2209800"/>
            <a:ext cx="612775" cy="364490"/>
          </a:xfrm>
          <a:custGeom>
            <a:avLst/>
            <a:gdLst/>
            <a:ahLst/>
            <a:cxnLst/>
            <a:rect l="l" t="t" r="r" b="b"/>
            <a:pathLst>
              <a:path w="612775" h="364489">
                <a:moveTo>
                  <a:pt x="27559" y="0"/>
                </a:moveTo>
                <a:lnTo>
                  <a:pt x="0" y="54355"/>
                </a:lnTo>
                <a:lnTo>
                  <a:pt x="49656" y="141350"/>
                </a:lnTo>
                <a:lnTo>
                  <a:pt x="0" y="168528"/>
                </a:lnTo>
                <a:lnTo>
                  <a:pt x="0" y="233807"/>
                </a:lnTo>
                <a:lnTo>
                  <a:pt x="66293" y="298958"/>
                </a:lnTo>
                <a:lnTo>
                  <a:pt x="49656" y="347979"/>
                </a:lnTo>
                <a:lnTo>
                  <a:pt x="209676" y="320801"/>
                </a:lnTo>
                <a:lnTo>
                  <a:pt x="287019" y="364236"/>
                </a:lnTo>
                <a:lnTo>
                  <a:pt x="375285" y="347979"/>
                </a:lnTo>
                <a:lnTo>
                  <a:pt x="391922" y="309879"/>
                </a:lnTo>
                <a:lnTo>
                  <a:pt x="469138" y="260985"/>
                </a:lnTo>
                <a:lnTo>
                  <a:pt x="562990" y="271779"/>
                </a:lnTo>
                <a:lnTo>
                  <a:pt x="535431" y="222885"/>
                </a:lnTo>
                <a:lnTo>
                  <a:pt x="574039" y="103250"/>
                </a:lnTo>
                <a:lnTo>
                  <a:pt x="612648" y="65277"/>
                </a:lnTo>
                <a:lnTo>
                  <a:pt x="469138" y="16255"/>
                </a:lnTo>
                <a:lnTo>
                  <a:pt x="375285" y="27177"/>
                </a:lnTo>
                <a:lnTo>
                  <a:pt x="298068" y="81534"/>
                </a:lnTo>
                <a:lnTo>
                  <a:pt x="104901" y="54355"/>
                </a:lnTo>
                <a:lnTo>
                  <a:pt x="27559"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bg object 137"/>
          <p:cNvSpPr/>
          <p:nvPr/>
        </p:nvSpPr>
        <p:spPr>
          <a:xfrm>
            <a:off x="3756659" y="2209800"/>
            <a:ext cx="612775" cy="364490"/>
          </a:xfrm>
          <a:custGeom>
            <a:avLst/>
            <a:gdLst/>
            <a:ahLst/>
            <a:cxnLst/>
            <a:rect l="l" t="t" r="r" b="b"/>
            <a:pathLst>
              <a:path w="612775" h="364489">
                <a:moveTo>
                  <a:pt x="612648" y="65277"/>
                </a:moveTo>
                <a:lnTo>
                  <a:pt x="574039" y="103250"/>
                </a:lnTo>
                <a:lnTo>
                  <a:pt x="535431" y="222885"/>
                </a:lnTo>
                <a:lnTo>
                  <a:pt x="562990" y="271779"/>
                </a:lnTo>
                <a:lnTo>
                  <a:pt x="469138" y="260985"/>
                </a:lnTo>
                <a:lnTo>
                  <a:pt x="391922" y="309879"/>
                </a:lnTo>
                <a:lnTo>
                  <a:pt x="375285" y="347979"/>
                </a:lnTo>
                <a:lnTo>
                  <a:pt x="287019" y="364236"/>
                </a:lnTo>
                <a:lnTo>
                  <a:pt x="209676" y="320801"/>
                </a:lnTo>
                <a:lnTo>
                  <a:pt x="49656" y="347979"/>
                </a:lnTo>
                <a:lnTo>
                  <a:pt x="66293" y="298958"/>
                </a:lnTo>
                <a:lnTo>
                  <a:pt x="0" y="233807"/>
                </a:lnTo>
                <a:lnTo>
                  <a:pt x="0" y="168528"/>
                </a:lnTo>
                <a:lnTo>
                  <a:pt x="49656" y="141350"/>
                </a:lnTo>
                <a:lnTo>
                  <a:pt x="0" y="54355"/>
                </a:lnTo>
                <a:lnTo>
                  <a:pt x="27559" y="0"/>
                </a:lnTo>
                <a:lnTo>
                  <a:pt x="104901" y="54355"/>
                </a:lnTo>
                <a:lnTo>
                  <a:pt x="298068" y="81534"/>
                </a:lnTo>
                <a:lnTo>
                  <a:pt x="375285" y="27177"/>
                </a:lnTo>
                <a:lnTo>
                  <a:pt x="469138" y="16255"/>
                </a:lnTo>
                <a:lnTo>
                  <a:pt x="612648" y="65277"/>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8" name="bg object 138"/>
          <p:cNvPicPr/>
          <p:nvPr/>
        </p:nvPicPr>
        <p:blipFill>
          <a:blip r:embed="rId48" cstate="print"/>
          <a:stretch>
            <a:fillRect/>
          </a:stretch>
        </p:blipFill>
        <p:spPr>
          <a:xfrm>
            <a:off x="2458212" y="1876044"/>
            <a:ext cx="20574" cy="29717"/>
          </a:xfrm>
          <a:prstGeom prst="rect">
            <a:avLst/>
          </a:prstGeom>
        </p:spPr>
      </p:pic>
      <p:sp>
        <p:nvSpPr>
          <p:cNvPr id="139" name="bg object 139"/>
          <p:cNvSpPr/>
          <p:nvPr/>
        </p:nvSpPr>
        <p:spPr>
          <a:xfrm>
            <a:off x="2473451" y="1853183"/>
            <a:ext cx="17145" cy="26034"/>
          </a:xfrm>
          <a:custGeom>
            <a:avLst/>
            <a:gdLst/>
            <a:ahLst/>
            <a:cxnLst/>
            <a:rect l="l" t="t" r="r" b="b"/>
            <a:pathLst>
              <a:path w="17144" h="26035">
                <a:moveTo>
                  <a:pt x="0" y="0"/>
                </a:moveTo>
                <a:lnTo>
                  <a:pt x="0" y="25907"/>
                </a:lnTo>
                <a:lnTo>
                  <a:pt x="16764" y="25907"/>
                </a:lnTo>
                <a:lnTo>
                  <a:pt x="16764" y="15493"/>
                </a:lnTo>
                <a:lnTo>
                  <a:pt x="0"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bg object 140"/>
          <p:cNvSpPr/>
          <p:nvPr/>
        </p:nvSpPr>
        <p:spPr>
          <a:xfrm>
            <a:off x="2473451" y="1853183"/>
            <a:ext cx="17145" cy="26034"/>
          </a:xfrm>
          <a:custGeom>
            <a:avLst/>
            <a:gdLst/>
            <a:ahLst/>
            <a:cxnLst/>
            <a:rect l="l" t="t" r="r" b="b"/>
            <a:pathLst>
              <a:path w="17144" h="26035">
                <a:moveTo>
                  <a:pt x="0" y="0"/>
                </a:moveTo>
                <a:lnTo>
                  <a:pt x="16764" y="15493"/>
                </a:lnTo>
                <a:lnTo>
                  <a:pt x="16764" y="25907"/>
                </a:lnTo>
                <a:lnTo>
                  <a:pt x="0" y="25907"/>
                </a:lnTo>
                <a:lnTo>
                  <a:pt x="0"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1" name="bg object 141"/>
          <p:cNvPicPr/>
          <p:nvPr/>
        </p:nvPicPr>
        <p:blipFill>
          <a:blip r:embed="rId49" cstate="print"/>
          <a:stretch>
            <a:fillRect/>
          </a:stretch>
        </p:blipFill>
        <p:spPr>
          <a:xfrm>
            <a:off x="2458212" y="1658124"/>
            <a:ext cx="761238" cy="323837"/>
          </a:xfrm>
          <a:prstGeom prst="rect">
            <a:avLst/>
          </a:prstGeom>
        </p:spPr>
      </p:pic>
      <p:sp>
        <p:nvSpPr>
          <p:cNvPr id="142" name="bg object 142"/>
          <p:cNvSpPr/>
          <p:nvPr/>
        </p:nvSpPr>
        <p:spPr>
          <a:xfrm>
            <a:off x="2473451" y="1635251"/>
            <a:ext cx="757555" cy="320040"/>
          </a:xfrm>
          <a:custGeom>
            <a:avLst/>
            <a:gdLst/>
            <a:ahLst/>
            <a:cxnLst/>
            <a:rect l="l" t="t" r="r" b="b"/>
            <a:pathLst>
              <a:path w="757555" h="320039">
                <a:moveTo>
                  <a:pt x="697888" y="233299"/>
                </a:moveTo>
                <a:lnTo>
                  <a:pt x="276479" y="233299"/>
                </a:lnTo>
                <a:lnTo>
                  <a:pt x="287528" y="282067"/>
                </a:lnTo>
                <a:lnTo>
                  <a:pt x="420116" y="309245"/>
                </a:lnTo>
                <a:lnTo>
                  <a:pt x="497586" y="320039"/>
                </a:lnTo>
                <a:lnTo>
                  <a:pt x="536321" y="292862"/>
                </a:lnTo>
                <a:lnTo>
                  <a:pt x="657860" y="282067"/>
                </a:lnTo>
                <a:lnTo>
                  <a:pt x="657860" y="271272"/>
                </a:lnTo>
                <a:lnTo>
                  <a:pt x="696595" y="244094"/>
                </a:lnTo>
                <a:lnTo>
                  <a:pt x="697888" y="233299"/>
                </a:lnTo>
                <a:close/>
              </a:path>
              <a:path w="757555" h="320039">
                <a:moveTo>
                  <a:pt x="27686" y="178943"/>
                </a:moveTo>
                <a:lnTo>
                  <a:pt x="16637" y="178943"/>
                </a:lnTo>
                <a:lnTo>
                  <a:pt x="16637" y="195325"/>
                </a:lnTo>
                <a:lnTo>
                  <a:pt x="0" y="216915"/>
                </a:lnTo>
                <a:lnTo>
                  <a:pt x="16637" y="233299"/>
                </a:lnTo>
                <a:lnTo>
                  <a:pt x="16637" y="244094"/>
                </a:lnTo>
                <a:lnTo>
                  <a:pt x="66293" y="271272"/>
                </a:lnTo>
                <a:lnTo>
                  <a:pt x="105029" y="271272"/>
                </a:lnTo>
                <a:lnTo>
                  <a:pt x="276479" y="233299"/>
                </a:lnTo>
                <a:lnTo>
                  <a:pt x="697888" y="233299"/>
                </a:lnTo>
                <a:lnTo>
                  <a:pt x="699851" y="216915"/>
                </a:lnTo>
                <a:lnTo>
                  <a:pt x="66293" y="216915"/>
                </a:lnTo>
                <a:lnTo>
                  <a:pt x="27686" y="178943"/>
                </a:lnTo>
                <a:close/>
              </a:path>
              <a:path w="757555" h="320039">
                <a:moveTo>
                  <a:pt x="93980" y="178943"/>
                </a:moveTo>
                <a:lnTo>
                  <a:pt x="66293" y="216915"/>
                </a:lnTo>
                <a:lnTo>
                  <a:pt x="699851" y="216915"/>
                </a:lnTo>
                <a:lnTo>
                  <a:pt x="702439" y="195325"/>
                </a:lnTo>
                <a:lnTo>
                  <a:pt x="160274" y="195325"/>
                </a:lnTo>
                <a:lnTo>
                  <a:pt x="93980" y="178943"/>
                </a:lnTo>
                <a:close/>
              </a:path>
              <a:path w="757555" h="320039">
                <a:moveTo>
                  <a:pt x="265430" y="151892"/>
                </a:moveTo>
                <a:lnTo>
                  <a:pt x="160274" y="195325"/>
                </a:lnTo>
                <a:lnTo>
                  <a:pt x="702439" y="195325"/>
                </a:lnTo>
                <a:lnTo>
                  <a:pt x="704402" y="178943"/>
                </a:lnTo>
                <a:lnTo>
                  <a:pt x="353822" y="178943"/>
                </a:lnTo>
                <a:lnTo>
                  <a:pt x="265430" y="151892"/>
                </a:lnTo>
                <a:close/>
              </a:path>
              <a:path w="757555" h="320039">
                <a:moveTo>
                  <a:pt x="431292" y="27177"/>
                </a:moveTo>
                <a:lnTo>
                  <a:pt x="420116" y="65150"/>
                </a:lnTo>
                <a:lnTo>
                  <a:pt x="331724" y="103124"/>
                </a:lnTo>
                <a:lnTo>
                  <a:pt x="353822" y="178943"/>
                </a:lnTo>
                <a:lnTo>
                  <a:pt x="704402" y="178943"/>
                </a:lnTo>
                <a:lnTo>
                  <a:pt x="707644" y="151892"/>
                </a:lnTo>
                <a:lnTo>
                  <a:pt x="757428" y="151892"/>
                </a:lnTo>
                <a:lnTo>
                  <a:pt x="757428" y="113919"/>
                </a:lnTo>
                <a:lnTo>
                  <a:pt x="735330" y="75946"/>
                </a:lnTo>
                <a:lnTo>
                  <a:pt x="741648" y="54228"/>
                </a:lnTo>
                <a:lnTo>
                  <a:pt x="525272" y="54228"/>
                </a:lnTo>
                <a:lnTo>
                  <a:pt x="431292" y="27177"/>
                </a:lnTo>
                <a:close/>
              </a:path>
              <a:path w="757555" h="320039">
                <a:moveTo>
                  <a:pt x="552831" y="0"/>
                </a:moveTo>
                <a:lnTo>
                  <a:pt x="525272" y="54228"/>
                </a:lnTo>
                <a:lnTo>
                  <a:pt x="741648" y="54228"/>
                </a:lnTo>
                <a:lnTo>
                  <a:pt x="746379" y="37973"/>
                </a:lnTo>
                <a:lnTo>
                  <a:pt x="55283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bg object 143"/>
          <p:cNvSpPr/>
          <p:nvPr/>
        </p:nvSpPr>
        <p:spPr>
          <a:xfrm>
            <a:off x="2473451" y="1635251"/>
            <a:ext cx="757555" cy="320040"/>
          </a:xfrm>
          <a:custGeom>
            <a:avLst/>
            <a:gdLst/>
            <a:ahLst/>
            <a:cxnLst/>
            <a:rect l="l" t="t" r="r" b="b"/>
            <a:pathLst>
              <a:path w="757555" h="320039">
                <a:moveTo>
                  <a:pt x="16637" y="244094"/>
                </a:moveTo>
                <a:lnTo>
                  <a:pt x="16637" y="233299"/>
                </a:lnTo>
                <a:lnTo>
                  <a:pt x="0" y="216915"/>
                </a:lnTo>
                <a:lnTo>
                  <a:pt x="16637" y="195325"/>
                </a:lnTo>
                <a:lnTo>
                  <a:pt x="16637" y="178943"/>
                </a:lnTo>
                <a:lnTo>
                  <a:pt x="27686" y="178943"/>
                </a:lnTo>
                <a:lnTo>
                  <a:pt x="66293" y="216915"/>
                </a:lnTo>
                <a:lnTo>
                  <a:pt x="93980" y="178943"/>
                </a:lnTo>
                <a:lnTo>
                  <a:pt x="160274" y="195325"/>
                </a:lnTo>
                <a:lnTo>
                  <a:pt x="265430" y="151892"/>
                </a:lnTo>
                <a:lnTo>
                  <a:pt x="353822" y="178943"/>
                </a:lnTo>
                <a:lnTo>
                  <a:pt x="331724" y="103124"/>
                </a:lnTo>
                <a:lnTo>
                  <a:pt x="420116" y="65150"/>
                </a:lnTo>
                <a:lnTo>
                  <a:pt x="431292" y="27177"/>
                </a:lnTo>
                <a:lnTo>
                  <a:pt x="525272" y="54228"/>
                </a:lnTo>
                <a:lnTo>
                  <a:pt x="552831" y="0"/>
                </a:lnTo>
                <a:lnTo>
                  <a:pt x="746379" y="37973"/>
                </a:lnTo>
                <a:lnTo>
                  <a:pt x="735330" y="75946"/>
                </a:lnTo>
                <a:lnTo>
                  <a:pt x="757428" y="113919"/>
                </a:lnTo>
                <a:lnTo>
                  <a:pt x="757428" y="151892"/>
                </a:lnTo>
                <a:lnTo>
                  <a:pt x="707644" y="151892"/>
                </a:lnTo>
                <a:lnTo>
                  <a:pt x="696595" y="244094"/>
                </a:lnTo>
                <a:lnTo>
                  <a:pt x="657860" y="271272"/>
                </a:lnTo>
                <a:lnTo>
                  <a:pt x="657860" y="282067"/>
                </a:lnTo>
                <a:lnTo>
                  <a:pt x="536321" y="292862"/>
                </a:lnTo>
                <a:lnTo>
                  <a:pt x="497586" y="320039"/>
                </a:lnTo>
                <a:lnTo>
                  <a:pt x="420116" y="309245"/>
                </a:lnTo>
                <a:lnTo>
                  <a:pt x="287528" y="282067"/>
                </a:lnTo>
                <a:lnTo>
                  <a:pt x="276479" y="233299"/>
                </a:lnTo>
                <a:lnTo>
                  <a:pt x="105029" y="271272"/>
                </a:lnTo>
                <a:lnTo>
                  <a:pt x="66293" y="271272"/>
                </a:lnTo>
                <a:lnTo>
                  <a:pt x="16637" y="244094"/>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4" name="bg object 144"/>
          <p:cNvPicPr/>
          <p:nvPr/>
        </p:nvPicPr>
        <p:blipFill>
          <a:blip r:embed="rId50" cstate="print"/>
          <a:stretch>
            <a:fillRect/>
          </a:stretch>
        </p:blipFill>
        <p:spPr>
          <a:xfrm>
            <a:off x="3116579" y="1712976"/>
            <a:ext cx="677418" cy="345186"/>
          </a:xfrm>
          <a:prstGeom prst="rect">
            <a:avLst/>
          </a:prstGeom>
        </p:spPr>
      </p:pic>
      <p:sp>
        <p:nvSpPr>
          <p:cNvPr id="145" name="bg object 145"/>
          <p:cNvSpPr/>
          <p:nvPr/>
        </p:nvSpPr>
        <p:spPr>
          <a:xfrm>
            <a:off x="3131819" y="1690116"/>
            <a:ext cx="673735" cy="341630"/>
          </a:xfrm>
          <a:custGeom>
            <a:avLst/>
            <a:gdLst/>
            <a:ahLst/>
            <a:cxnLst/>
            <a:rect l="l" t="t" r="r" b="b"/>
            <a:pathLst>
              <a:path w="673735" h="341630">
                <a:moveTo>
                  <a:pt x="530097" y="0"/>
                </a:moveTo>
                <a:lnTo>
                  <a:pt x="441706" y="0"/>
                </a:lnTo>
                <a:lnTo>
                  <a:pt x="386460" y="48768"/>
                </a:lnTo>
                <a:lnTo>
                  <a:pt x="270509" y="59562"/>
                </a:lnTo>
                <a:lnTo>
                  <a:pt x="270509" y="86741"/>
                </a:lnTo>
                <a:lnTo>
                  <a:pt x="182244" y="97536"/>
                </a:lnTo>
                <a:lnTo>
                  <a:pt x="99441" y="59562"/>
                </a:lnTo>
                <a:lnTo>
                  <a:pt x="99441" y="97536"/>
                </a:lnTo>
                <a:lnTo>
                  <a:pt x="49656" y="97536"/>
                </a:lnTo>
                <a:lnTo>
                  <a:pt x="38607" y="189611"/>
                </a:lnTo>
                <a:lnTo>
                  <a:pt x="0" y="216788"/>
                </a:lnTo>
                <a:lnTo>
                  <a:pt x="22098" y="216788"/>
                </a:lnTo>
                <a:lnTo>
                  <a:pt x="49656" y="254635"/>
                </a:lnTo>
                <a:lnTo>
                  <a:pt x="127000" y="319659"/>
                </a:lnTo>
                <a:lnTo>
                  <a:pt x="231902" y="341375"/>
                </a:lnTo>
                <a:lnTo>
                  <a:pt x="287146" y="319659"/>
                </a:lnTo>
                <a:lnTo>
                  <a:pt x="347853" y="292608"/>
                </a:lnTo>
                <a:lnTo>
                  <a:pt x="414146" y="303403"/>
                </a:lnTo>
                <a:lnTo>
                  <a:pt x="508000" y="281813"/>
                </a:lnTo>
                <a:lnTo>
                  <a:pt x="585216" y="124587"/>
                </a:lnTo>
                <a:lnTo>
                  <a:pt x="673607" y="75819"/>
                </a:lnTo>
                <a:lnTo>
                  <a:pt x="651509" y="59562"/>
                </a:lnTo>
                <a:lnTo>
                  <a:pt x="596265" y="10795"/>
                </a:lnTo>
                <a:lnTo>
                  <a:pt x="530097"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bg object 146"/>
          <p:cNvSpPr/>
          <p:nvPr/>
        </p:nvSpPr>
        <p:spPr>
          <a:xfrm>
            <a:off x="3131819" y="1690116"/>
            <a:ext cx="673735" cy="341630"/>
          </a:xfrm>
          <a:custGeom>
            <a:avLst/>
            <a:gdLst/>
            <a:ahLst/>
            <a:cxnLst/>
            <a:rect l="l" t="t" r="r" b="b"/>
            <a:pathLst>
              <a:path w="673735" h="341630">
                <a:moveTo>
                  <a:pt x="596265" y="10795"/>
                </a:moveTo>
                <a:lnTo>
                  <a:pt x="651509" y="59562"/>
                </a:lnTo>
                <a:lnTo>
                  <a:pt x="673607" y="75819"/>
                </a:lnTo>
                <a:lnTo>
                  <a:pt x="585216" y="124587"/>
                </a:lnTo>
                <a:lnTo>
                  <a:pt x="508000" y="281813"/>
                </a:lnTo>
                <a:lnTo>
                  <a:pt x="414146" y="303403"/>
                </a:lnTo>
                <a:lnTo>
                  <a:pt x="347853" y="292608"/>
                </a:lnTo>
                <a:lnTo>
                  <a:pt x="287146" y="319659"/>
                </a:lnTo>
                <a:lnTo>
                  <a:pt x="231902" y="341375"/>
                </a:lnTo>
                <a:lnTo>
                  <a:pt x="127000" y="319659"/>
                </a:lnTo>
                <a:lnTo>
                  <a:pt x="49656" y="254635"/>
                </a:lnTo>
                <a:lnTo>
                  <a:pt x="22098" y="216788"/>
                </a:lnTo>
                <a:lnTo>
                  <a:pt x="0" y="216788"/>
                </a:lnTo>
                <a:lnTo>
                  <a:pt x="38607" y="189611"/>
                </a:lnTo>
                <a:lnTo>
                  <a:pt x="49656" y="97536"/>
                </a:lnTo>
                <a:lnTo>
                  <a:pt x="99441" y="97536"/>
                </a:lnTo>
                <a:lnTo>
                  <a:pt x="99441" y="59562"/>
                </a:lnTo>
                <a:lnTo>
                  <a:pt x="182244" y="97536"/>
                </a:lnTo>
                <a:lnTo>
                  <a:pt x="270509" y="86741"/>
                </a:lnTo>
                <a:lnTo>
                  <a:pt x="270509" y="59562"/>
                </a:lnTo>
                <a:lnTo>
                  <a:pt x="386460" y="48768"/>
                </a:lnTo>
                <a:lnTo>
                  <a:pt x="441706" y="0"/>
                </a:lnTo>
                <a:lnTo>
                  <a:pt x="530097" y="0"/>
                </a:lnTo>
                <a:lnTo>
                  <a:pt x="596265" y="10795"/>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7" name="bg object 147"/>
          <p:cNvPicPr/>
          <p:nvPr/>
        </p:nvPicPr>
        <p:blipFill>
          <a:blip r:embed="rId51" cstate="print"/>
          <a:stretch>
            <a:fillRect/>
          </a:stretch>
        </p:blipFill>
        <p:spPr>
          <a:xfrm>
            <a:off x="3531108" y="1751076"/>
            <a:ext cx="944117" cy="567689"/>
          </a:xfrm>
          <a:prstGeom prst="rect">
            <a:avLst/>
          </a:prstGeom>
        </p:spPr>
      </p:pic>
      <p:sp>
        <p:nvSpPr>
          <p:cNvPr id="148" name="bg object 148"/>
          <p:cNvSpPr/>
          <p:nvPr/>
        </p:nvSpPr>
        <p:spPr>
          <a:xfrm>
            <a:off x="3546347" y="1728216"/>
            <a:ext cx="940435" cy="563880"/>
          </a:xfrm>
          <a:custGeom>
            <a:avLst/>
            <a:gdLst/>
            <a:ahLst/>
            <a:cxnLst/>
            <a:rect l="l" t="t" r="r" b="b"/>
            <a:pathLst>
              <a:path w="940435" h="563880">
                <a:moveTo>
                  <a:pt x="630554" y="0"/>
                </a:moveTo>
                <a:lnTo>
                  <a:pt x="586359" y="21717"/>
                </a:lnTo>
                <a:lnTo>
                  <a:pt x="497839" y="48768"/>
                </a:lnTo>
                <a:lnTo>
                  <a:pt x="259968" y="37973"/>
                </a:lnTo>
                <a:lnTo>
                  <a:pt x="171450" y="86741"/>
                </a:lnTo>
                <a:lnTo>
                  <a:pt x="93979" y="243967"/>
                </a:lnTo>
                <a:lnTo>
                  <a:pt x="0" y="265684"/>
                </a:lnTo>
                <a:lnTo>
                  <a:pt x="55372" y="330708"/>
                </a:lnTo>
                <a:lnTo>
                  <a:pt x="132714" y="384937"/>
                </a:lnTo>
                <a:lnTo>
                  <a:pt x="116204" y="422910"/>
                </a:lnTo>
                <a:lnTo>
                  <a:pt x="182499" y="460883"/>
                </a:lnTo>
                <a:lnTo>
                  <a:pt x="210185" y="433705"/>
                </a:lnTo>
                <a:lnTo>
                  <a:pt x="237871" y="482600"/>
                </a:lnTo>
                <a:lnTo>
                  <a:pt x="315340" y="536829"/>
                </a:lnTo>
                <a:lnTo>
                  <a:pt x="508888" y="563880"/>
                </a:lnTo>
                <a:lnTo>
                  <a:pt x="586359" y="509650"/>
                </a:lnTo>
                <a:lnTo>
                  <a:pt x="680338" y="498856"/>
                </a:lnTo>
                <a:lnTo>
                  <a:pt x="824102" y="547624"/>
                </a:lnTo>
                <a:lnTo>
                  <a:pt x="835151" y="482600"/>
                </a:lnTo>
                <a:lnTo>
                  <a:pt x="873887" y="422910"/>
                </a:lnTo>
                <a:lnTo>
                  <a:pt x="929259" y="422910"/>
                </a:lnTo>
                <a:lnTo>
                  <a:pt x="940307" y="368681"/>
                </a:lnTo>
                <a:lnTo>
                  <a:pt x="901573" y="341630"/>
                </a:lnTo>
                <a:lnTo>
                  <a:pt x="851788" y="368681"/>
                </a:lnTo>
                <a:lnTo>
                  <a:pt x="785494" y="341630"/>
                </a:lnTo>
                <a:lnTo>
                  <a:pt x="785494" y="281939"/>
                </a:lnTo>
                <a:lnTo>
                  <a:pt x="796543" y="200660"/>
                </a:lnTo>
                <a:lnTo>
                  <a:pt x="774318" y="151764"/>
                </a:lnTo>
                <a:lnTo>
                  <a:pt x="708025" y="75946"/>
                </a:lnTo>
                <a:lnTo>
                  <a:pt x="669289" y="10795"/>
                </a:lnTo>
                <a:lnTo>
                  <a:pt x="630554"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bg object 149"/>
          <p:cNvSpPr/>
          <p:nvPr/>
        </p:nvSpPr>
        <p:spPr>
          <a:xfrm>
            <a:off x="3546347" y="1728216"/>
            <a:ext cx="940435" cy="563880"/>
          </a:xfrm>
          <a:custGeom>
            <a:avLst/>
            <a:gdLst/>
            <a:ahLst/>
            <a:cxnLst/>
            <a:rect l="l" t="t" r="r" b="b"/>
            <a:pathLst>
              <a:path w="940435" h="563880">
                <a:moveTo>
                  <a:pt x="237871" y="482600"/>
                </a:moveTo>
                <a:lnTo>
                  <a:pt x="210185" y="433705"/>
                </a:lnTo>
                <a:lnTo>
                  <a:pt x="182499" y="460883"/>
                </a:lnTo>
                <a:lnTo>
                  <a:pt x="116204" y="422910"/>
                </a:lnTo>
                <a:lnTo>
                  <a:pt x="132714" y="384937"/>
                </a:lnTo>
                <a:lnTo>
                  <a:pt x="55372" y="330708"/>
                </a:lnTo>
                <a:lnTo>
                  <a:pt x="0" y="265684"/>
                </a:lnTo>
                <a:lnTo>
                  <a:pt x="93979" y="243967"/>
                </a:lnTo>
                <a:lnTo>
                  <a:pt x="171450" y="86741"/>
                </a:lnTo>
                <a:lnTo>
                  <a:pt x="259968" y="37973"/>
                </a:lnTo>
                <a:lnTo>
                  <a:pt x="497839" y="48768"/>
                </a:lnTo>
                <a:lnTo>
                  <a:pt x="586359" y="21717"/>
                </a:lnTo>
                <a:lnTo>
                  <a:pt x="630554" y="0"/>
                </a:lnTo>
                <a:lnTo>
                  <a:pt x="669289" y="10795"/>
                </a:lnTo>
                <a:lnTo>
                  <a:pt x="708025" y="75946"/>
                </a:lnTo>
                <a:lnTo>
                  <a:pt x="774318" y="151764"/>
                </a:lnTo>
                <a:lnTo>
                  <a:pt x="796543" y="200660"/>
                </a:lnTo>
                <a:lnTo>
                  <a:pt x="785494" y="281939"/>
                </a:lnTo>
                <a:lnTo>
                  <a:pt x="785494" y="341630"/>
                </a:lnTo>
                <a:lnTo>
                  <a:pt x="851788" y="368681"/>
                </a:lnTo>
                <a:lnTo>
                  <a:pt x="901573" y="341630"/>
                </a:lnTo>
                <a:lnTo>
                  <a:pt x="940307" y="368681"/>
                </a:lnTo>
                <a:lnTo>
                  <a:pt x="929259" y="422910"/>
                </a:lnTo>
                <a:lnTo>
                  <a:pt x="873887" y="422910"/>
                </a:lnTo>
                <a:lnTo>
                  <a:pt x="835151" y="482600"/>
                </a:lnTo>
                <a:lnTo>
                  <a:pt x="824102" y="547624"/>
                </a:lnTo>
                <a:lnTo>
                  <a:pt x="680338" y="498856"/>
                </a:lnTo>
                <a:lnTo>
                  <a:pt x="586359" y="509650"/>
                </a:lnTo>
                <a:lnTo>
                  <a:pt x="508888" y="563880"/>
                </a:lnTo>
                <a:lnTo>
                  <a:pt x="315340" y="536829"/>
                </a:lnTo>
                <a:lnTo>
                  <a:pt x="237871" y="48260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0" name="bg object 150"/>
          <p:cNvPicPr/>
          <p:nvPr/>
        </p:nvPicPr>
        <p:blipFill>
          <a:blip r:embed="rId52" cstate="print"/>
          <a:stretch>
            <a:fillRect/>
          </a:stretch>
        </p:blipFill>
        <p:spPr>
          <a:xfrm>
            <a:off x="2081784" y="1517903"/>
            <a:ext cx="81492" cy="80010"/>
          </a:xfrm>
          <a:prstGeom prst="rect">
            <a:avLst/>
          </a:prstGeom>
        </p:spPr>
      </p:pic>
      <p:pic>
        <p:nvPicPr>
          <p:cNvPr id="151" name="bg object 151"/>
          <p:cNvPicPr/>
          <p:nvPr/>
        </p:nvPicPr>
        <p:blipFill>
          <a:blip r:embed="rId53" cstate="print"/>
          <a:stretch>
            <a:fillRect/>
          </a:stretch>
        </p:blipFill>
        <p:spPr>
          <a:xfrm>
            <a:off x="2095436" y="1493456"/>
            <a:ext cx="80899" cy="79375"/>
          </a:xfrm>
          <a:prstGeom prst="rect">
            <a:avLst/>
          </a:prstGeom>
        </p:spPr>
      </p:pic>
      <p:pic>
        <p:nvPicPr>
          <p:cNvPr id="152" name="bg object 152"/>
          <p:cNvPicPr/>
          <p:nvPr/>
        </p:nvPicPr>
        <p:blipFill>
          <a:blip r:embed="rId54" cstate="print"/>
          <a:stretch>
            <a:fillRect/>
          </a:stretch>
        </p:blipFill>
        <p:spPr>
          <a:xfrm>
            <a:off x="1661160" y="2427714"/>
            <a:ext cx="31132" cy="31132"/>
          </a:xfrm>
          <a:prstGeom prst="rect">
            <a:avLst/>
          </a:prstGeom>
        </p:spPr>
      </p:pic>
      <p:sp>
        <p:nvSpPr>
          <p:cNvPr id="153" name="bg object 153"/>
          <p:cNvSpPr/>
          <p:nvPr/>
        </p:nvSpPr>
        <p:spPr>
          <a:xfrm>
            <a:off x="1676400" y="2404872"/>
            <a:ext cx="27940" cy="27940"/>
          </a:xfrm>
          <a:custGeom>
            <a:avLst/>
            <a:gdLst/>
            <a:ahLst/>
            <a:cxnLst/>
            <a:rect l="l" t="t" r="r" b="b"/>
            <a:pathLst>
              <a:path w="27939" h="27939">
                <a:moveTo>
                  <a:pt x="27431" y="0"/>
                </a:moveTo>
                <a:lnTo>
                  <a:pt x="0" y="0"/>
                </a:lnTo>
                <a:lnTo>
                  <a:pt x="16510" y="27431"/>
                </a:lnTo>
                <a:lnTo>
                  <a:pt x="27431" y="10922"/>
                </a:lnTo>
                <a:lnTo>
                  <a:pt x="27431"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bg object 154"/>
          <p:cNvSpPr/>
          <p:nvPr/>
        </p:nvSpPr>
        <p:spPr>
          <a:xfrm>
            <a:off x="1676400" y="2404872"/>
            <a:ext cx="27940" cy="27940"/>
          </a:xfrm>
          <a:custGeom>
            <a:avLst/>
            <a:gdLst/>
            <a:ahLst/>
            <a:cxnLst/>
            <a:rect l="l" t="t" r="r" b="b"/>
            <a:pathLst>
              <a:path w="27939" h="27939">
                <a:moveTo>
                  <a:pt x="0" y="0"/>
                </a:moveTo>
                <a:lnTo>
                  <a:pt x="27431" y="0"/>
                </a:lnTo>
                <a:lnTo>
                  <a:pt x="27431" y="10922"/>
                </a:lnTo>
                <a:lnTo>
                  <a:pt x="16510" y="27431"/>
                </a:lnTo>
                <a:lnTo>
                  <a:pt x="0"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5" name="bg object 155"/>
          <p:cNvPicPr/>
          <p:nvPr/>
        </p:nvPicPr>
        <p:blipFill>
          <a:blip r:embed="rId55" cstate="print"/>
          <a:stretch>
            <a:fillRect/>
          </a:stretch>
        </p:blipFill>
        <p:spPr>
          <a:xfrm>
            <a:off x="1766316" y="1339595"/>
            <a:ext cx="386333" cy="258317"/>
          </a:xfrm>
          <a:prstGeom prst="rect">
            <a:avLst/>
          </a:prstGeom>
        </p:spPr>
      </p:pic>
      <p:sp>
        <p:nvSpPr>
          <p:cNvPr id="156" name="bg object 156"/>
          <p:cNvSpPr/>
          <p:nvPr/>
        </p:nvSpPr>
        <p:spPr>
          <a:xfrm>
            <a:off x="1781556" y="1316736"/>
            <a:ext cx="382905" cy="254635"/>
          </a:xfrm>
          <a:custGeom>
            <a:avLst/>
            <a:gdLst/>
            <a:ahLst/>
            <a:cxnLst/>
            <a:rect l="l" t="t" r="r" b="b"/>
            <a:pathLst>
              <a:path w="382905" h="254634">
                <a:moveTo>
                  <a:pt x="77596" y="10794"/>
                </a:moveTo>
                <a:lnTo>
                  <a:pt x="66548" y="27050"/>
                </a:lnTo>
                <a:lnTo>
                  <a:pt x="0" y="54101"/>
                </a:lnTo>
                <a:lnTo>
                  <a:pt x="121919" y="151637"/>
                </a:lnTo>
                <a:lnTo>
                  <a:pt x="171831" y="151637"/>
                </a:lnTo>
                <a:lnTo>
                  <a:pt x="160781" y="194944"/>
                </a:lnTo>
                <a:lnTo>
                  <a:pt x="221742" y="194944"/>
                </a:lnTo>
                <a:lnTo>
                  <a:pt x="304926" y="254508"/>
                </a:lnTo>
                <a:lnTo>
                  <a:pt x="327025" y="254508"/>
                </a:lnTo>
                <a:lnTo>
                  <a:pt x="315975" y="205739"/>
                </a:lnTo>
                <a:lnTo>
                  <a:pt x="354838" y="178688"/>
                </a:lnTo>
                <a:lnTo>
                  <a:pt x="382524" y="151637"/>
                </a:lnTo>
                <a:lnTo>
                  <a:pt x="354838" y="92075"/>
                </a:lnTo>
                <a:lnTo>
                  <a:pt x="327025" y="37846"/>
                </a:lnTo>
                <a:lnTo>
                  <a:pt x="133095" y="37846"/>
                </a:lnTo>
                <a:lnTo>
                  <a:pt x="77596" y="10794"/>
                </a:lnTo>
                <a:close/>
              </a:path>
              <a:path w="382905" h="254634">
                <a:moveTo>
                  <a:pt x="171831" y="10794"/>
                </a:moveTo>
                <a:lnTo>
                  <a:pt x="133095" y="37846"/>
                </a:lnTo>
                <a:lnTo>
                  <a:pt x="327025" y="37846"/>
                </a:lnTo>
                <a:lnTo>
                  <a:pt x="304891" y="27050"/>
                </a:lnTo>
                <a:lnTo>
                  <a:pt x="171831" y="27050"/>
                </a:lnTo>
                <a:lnTo>
                  <a:pt x="171831" y="10794"/>
                </a:lnTo>
                <a:close/>
              </a:path>
              <a:path w="382905" h="254634">
                <a:moveTo>
                  <a:pt x="249427" y="0"/>
                </a:moveTo>
                <a:lnTo>
                  <a:pt x="171831" y="10794"/>
                </a:lnTo>
                <a:lnTo>
                  <a:pt x="171831" y="27050"/>
                </a:lnTo>
                <a:lnTo>
                  <a:pt x="304891" y="27050"/>
                </a:lnTo>
                <a:lnTo>
                  <a:pt x="249427"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bg object 157"/>
          <p:cNvSpPr/>
          <p:nvPr/>
        </p:nvSpPr>
        <p:spPr>
          <a:xfrm>
            <a:off x="1781556" y="1316736"/>
            <a:ext cx="382905" cy="254635"/>
          </a:xfrm>
          <a:custGeom>
            <a:avLst/>
            <a:gdLst/>
            <a:ahLst/>
            <a:cxnLst/>
            <a:rect l="l" t="t" r="r" b="b"/>
            <a:pathLst>
              <a:path w="382905" h="254634">
                <a:moveTo>
                  <a:pt x="354838" y="178688"/>
                </a:moveTo>
                <a:lnTo>
                  <a:pt x="315975" y="205739"/>
                </a:lnTo>
                <a:lnTo>
                  <a:pt x="327025" y="254508"/>
                </a:lnTo>
                <a:lnTo>
                  <a:pt x="304926" y="254508"/>
                </a:lnTo>
                <a:lnTo>
                  <a:pt x="221742" y="194944"/>
                </a:lnTo>
                <a:lnTo>
                  <a:pt x="160781" y="194944"/>
                </a:lnTo>
                <a:lnTo>
                  <a:pt x="171831" y="151637"/>
                </a:lnTo>
                <a:lnTo>
                  <a:pt x="121919" y="151637"/>
                </a:lnTo>
                <a:lnTo>
                  <a:pt x="0" y="54101"/>
                </a:lnTo>
                <a:lnTo>
                  <a:pt x="66548" y="27050"/>
                </a:lnTo>
                <a:lnTo>
                  <a:pt x="77596" y="10794"/>
                </a:lnTo>
                <a:lnTo>
                  <a:pt x="133095" y="37846"/>
                </a:lnTo>
                <a:lnTo>
                  <a:pt x="171831" y="10794"/>
                </a:lnTo>
                <a:lnTo>
                  <a:pt x="171831" y="27050"/>
                </a:lnTo>
                <a:lnTo>
                  <a:pt x="171831" y="10794"/>
                </a:lnTo>
                <a:lnTo>
                  <a:pt x="249427" y="0"/>
                </a:lnTo>
                <a:lnTo>
                  <a:pt x="327025" y="37846"/>
                </a:lnTo>
                <a:lnTo>
                  <a:pt x="354838" y="92075"/>
                </a:lnTo>
                <a:lnTo>
                  <a:pt x="382524" y="151637"/>
                </a:lnTo>
                <a:lnTo>
                  <a:pt x="354838" y="178688"/>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8" name="bg object 158"/>
          <p:cNvPicPr/>
          <p:nvPr/>
        </p:nvPicPr>
        <p:blipFill>
          <a:blip r:embed="rId56" cstate="print"/>
          <a:stretch>
            <a:fillRect/>
          </a:stretch>
        </p:blipFill>
        <p:spPr>
          <a:xfrm>
            <a:off x="2121407" y="1827288"/>
            <a:ext cx="445769" cy="209537"/>
          </a:xfrm>
          <a:prstGeom prst="rect">
            <a:avLst/>
          </a:prstGeom>
        </p:spPr>
      </p:pic>
      <p:sp>
        <p:nvSpPr>
          <p:cNvPr id="159" name="bg object 159"/>
          <p:cNvSpPr/>
          <p:nvPr/>
        </p:nvSpPr>
        <p:spPr>
          <a:xfrm>
            <a:off x="2136647" y="1804416"/>
            <a:ext cx="441959" cy="205740"/>
          </a:xfrm>
          <a:custGeom>
            <a:avLst/>
            <a:gdLst/>
            <a:ahLst/>
            <a:cxnLst/>
            <a:rect l="l" t="t" r="r" b="b"/>
            <a:pathLst>
              <a:path w="441960" h="205739">
                <a:moveTo>
                  <a:pt x="314832" y="0"/>
                </a:moveTo>
                <a:lnTo>
                  <a:pt x="154685" y="0"/>
                </a:lnTo>
                <a:lnTo>
                  <a:pt x="104901" y="37846"/>
                </a:lnTo>
                <a:lnTo>
                  <a:pt x="0" y="124587"/>
                </a:lnTo>
                <a:lnTo>
                  <a:pt x="11049" y="167894"/>
                </a:lnTo>
                <a:lnTo>
                  <a:pt x="27558" y="151637"/>
                </a:lnTo>
                <a:lnTo>
                  <a:pt x="55244" y="140716"/>
                </a:lnTo>
                <a:lnTo>
                  <a:pt x="77343" y="151637"/>
                </a:lnTo>
                <a:lnTo>
                  <a:pt x="77343" y="178688"/>
                </a:lnTo>
                <a:lnTo>
                  <a:pt x="93852" y="205739"/>
                </a:lnTo>
                <a:lnTo>
                  <a:pt x="182244" y="205739"/>
                </a:lnTo>
                <a:lnTo>
                  <a:pt x="193420" y="167894"/>
                </a:lnTo>
                <a:lnTo>
                  <a:pt x="276225" y="189484"/>
                </a:lnTo>
                <a:lnTo>
                  <a:pt x="314832" y="140716"/>
                </a:lnTo>
                <a:lnTo>
                  <a:pt x="392175" y="151637"/>
                </a:lnTo>
                <a:lnTo>
                  <a:pt x="430910" y="124587"/>
                </a:lnTo>
                <a:lnTo>
                  <a:pt x="441959" y="102870"/>
                </a:lnTo>
                <a:lnTo>
                  <a:pt x="403351" y="102870"/>
                </a:lnTo>
                <a:lnTo>
                  <a:pt x="353568" y="75819"/>
                </a:lnTo>
                <a:lnTo>
                  <a:pt x="336931" y="75819"/>
                </a:lnTo>
                <a:lnTo>
                  <a:pt x="336931" y="48768"/>
                </a:lnTo>
                <a:lnTo>
                  <a:pt x="353568" y="27050"/>
                </a:lnTo>
                <a:lnTo>
                  <a:pt x="353568" y="10795"/>
                </a:lnTo>
                <a:lnTo>
                  <a:pt x="336931" y="27050"/>
                </a:lnTo>
                <a:lnTo>
                  <a:pt x="314832"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bg object 160"/>
          <p:cNvSpPr/>
          <p:nvPr/>
        </p:nvSpPr>
        <p:spPr>
          <a:xfrm>
            <a:off x="2136647" y="1804416"/>
            <a:ext cx="441959" cy="205740"/>
          </a:xfrm>
          <a:custGeom>
            <a:avLst/>
            <a:gdLst/>
            <a:ahLst/>
            <a:cxnLst/>
            <a:rect l="l" t="t" r="r" b="b"/>
            <a:pathLst>
              <a:path w="441960" h="205739">
                <a:moveTo>
                  <a:pt x="314832" y="0"/>
                </a:moveTo>
                <a:lnTo>
                  <a:pt x="336931" y="27050"/>
                </a:lnTo>
                <a:lnTo>
                  <a:pt x="353568" y="10795"/>
                </a:lnTo>
                <a:lnTo>
                  <a:pt x="353568" y="27050"/>
                </a:lnTo>
                <a:lnTo>
                  <a:pt x="336931" y="48768"/>
                </a:lnTo>
                <a:lnTo>
                  <a:pt x="336931" y="75819"/>
                </a:lnTo>
                <a:lnTo>
                  <a:pt x="353568" y="75819"/>
                </a:lnTo>
                <a:lnTo>
                  <a:pt x="403351" y="102870"/>
                </a:lnTo>
                <a:lnTo>
                  <a:pt x="441959" y="102870"/>
                </a:lnTo>
                <a:lnTo>
                  <a:pt x="430910" y="124587"/>
                </a:lnTo>
                <a:lnTo>
                  <a:pt x="392175" y="151637"/>
                </a:lnTo>
                <a:lnTo>
                  <a:pt x="314832" y="140716"/>
                </a:lnTo>
                <a:lnTo>
                  <a:pt x="276225" y="189484"/>
                </a:lnTo>
                <a:lnTo>
                  <a:pt x="193420" y="167894"/>
                </a:lnTo>
                <a:lnTo>
                  <a:pt x="182244" y="205739"/>
                </a:lnTo>
                <a:lnTo>
                  <a:pt x="93852" y="205739"/>
                </a:lnTo>
                <a:lnTo>
                  <a:pt x="77343" y="178688"/>
                </a:lnTo>
                <a:lnTo>
                  <a:pt x="77343" y="151637"/>
                </a:lnTo>
                <a:lnTo>
                  <a:pt x="55244" y="140716"/>
                </a:lnTo>
                <a:lnTo>
                  <a:pt x="27558" y="151637"/>
                </a:lnTo>
                <a:lnTo>
                  <a:pt x="11049" y="167894"/>
                </a:lnTo>
                <a:lnTo>
                  <a:pt x="0" y="124587"/>
                </a:lnTo>
                <a:lnTo>
                  <a:pt x="104901" y="37846"/>
                </a:lnTo>
                <a:lnTo>
                  <a:pt x="154685" y="0"/>
                </a:lnTo>
                <a:lnTo>
                  <a:pt x="237489" y="0"/>
                </a:lnTo>
                <a:lnTo>
                  <a:pt x="314832"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61" name="bg object 161"/>
          <p:cNvPicPr/>
          <p:nvPr/>
        </p:nvPicPr>
        <p:blipFill>
          <a:blip r:embed="rId57" cstate="print"/>
          <a:stretch>
            <a:fillRect/>
          </a:stretch>
        </p:blipFill>
        <p:spPr>
          <a:xfrm>
            <a:off x="3503676" y="2353030"/>
            <a:ext cx="191249" cy="165379"/>
          </a:xfrm>
          <a:prstGeom prst="rect">
            <a:avLst/>
          </a:prstGeom>
        </p:spPr>
      </p:pic>
      <p:pic>
        <p:nvPicPr>
          <p:cNvPr id="162" name="bg object 162"/>
          <p:cNvPicPr/>
          <p:nvPr/>
        </p:nvPicPr>
        <p:blipFill>
          <a:blip r:embed="rId58" cstate="print"/>
          <a:stretch>
            <a:fillRect/>
          </a:stretch>
        </p:blipFill>
        <p:spPr>
          <a:xfrm>
            <a:off x="3517328" y="2328608"/>
            <a:ext cx="190626" cy="164718"/>
          </a:xfrm>
          <a:prstGeom prst="rect">
            <a:avLst/>
          </a:prstGeom>
        </p:spPr>
      </p:pic>
      <p:pic>
        <p:nvPicPr>
          <p:cNvPr id="163" name="bg object 163"/>
          <p:cNvPicPr/>
          <p:nvPr/>
        </p:nvPicPr>
        <p:blipFill>
          <a:blip r:embed="rId59" cstate="print"/>
          <a:stretch>
            <a:fillRect/>
          </a:stretch>
        </p:blipFill>
        <p:spPr>
          <a:xfrm>
            <a:off x="2916935" y="888491"/>
            <a:ext cx="1009650" cy="773429"/>
          </a:xfrm>
          <a:prstGeom prst="rect">
            <a:avLst/>
          </a:prstGeom>
        </p:spPr>
      </p:pic>
      <p:sp>
        <p:nvSpPr>
          <p:cNvPr id="164" name="bg object 164"/>
          <p:cNvSpPr/>
          <p:nvPr/>
        </p:nvSpPr>
        <p:spPr>
          <a:xfrm>
            <a:off x="2932176" y="865631"/>
            <a:ext cx="1005840" cy="769620"/>
          </a:xfrm>
          <a:custGeom>
            <a:avLst/>
            <a:gdLst/>
            <a:ahLst/>
            <a:cxnLst/>
            <a:rect l="l" t="t" r="r" b="b"/>
            <a:pathLst>
              <a:path w="1005839" h="769619">
                <a:moveTo>
                  <a:pt x="856678" y="720851"/>
                </a:moveTo>
                <a:lnTo>
                  <a:pt x="773684" y="720851"/>
                </a:lnTo>
                <a:lnTo>
                  <a:pt x="873251" y="769619"/>
                </a:lnTo>
                <a:lnTo>
                  <a:pt x="856678" y="720851"/>
                </a:lnTo>
                <a:close/>
              </a:path>
              <a:path w="1005839" h="769619">
                <a:moveTo>
                  <a:pt x="860134" y="693801"/>
                </a:moveTo>
                <a:lnTo>
                  <a:pt x="536066" y="693801"/>
                </a:lnTo>
                <a:lnTo>
                  <a:pt x="585851" y="742568"/>
                </a:lnTo>
                <a:lnTo>
                  <a:pt x="613410" y="720851"/>
                </a:lnTo>
                <a:lnTo>
                  <a:pt x="856678" y="720851"/>
                </a:lnTo>
                <a:lnTo>
                  <a:pt x="851153" y="704595"/>
                </a:lnTo>
                <a:lnTo>
                  <a:pt x="860134" y="693801"/>
                </a:lnTo>
                <a:close/>
              </a:path>
              <a:path w="1005839" h="769619">
                <a:moveTo>
                  <a:pt x="979005" y="590803"/>
                </a:moveTo>
                <a:lnTo>
                  <a:pt x="314960" y="590803"/>
                </a:lnTo>
                <a:lnTo>
                  <a:pt x="381381" y="644905"/>
                </a:lnTo>
                <a:lnTo>
                  <a:pt x="442087" y="655827"/>
                </a:lnTo>
                <a:lnTo>
                  <a:pt x="469773" y="704595"/>
                </a:lnTo>
                <a:lnTo>
                  <a:pt x="536066" y="693801"/>
                </a:lnTo>
                <a:lnTo>
                  <a:pt x="860134" y="693801"/>
                </a:lnTo>
                <a:lnTo>
                  <a:pt x="900811" y="644905"/>
                </a:lnTo>
                <a:lnTo>
                  <a:pt x="979005" y="590803"/>
                </a:lnTo>
                <a:close/>
              </a:path>
              <a:path w="1005839" h="769619">
                <a:moveTo>
                  <a:pt x="419988" y="0"/>
                </a:moveTo>
                <a:lnTo>
                  <a:pt x="248666" y="37972"/>
                </a:lnTo>
                <a:lnTo>
                  <a:pt x="210057" y="81279"/>
                </a:lnTo>
                <a:lnTo>
                  <a:pt x="16637" y="130047"/>
                </a:lnTo>
                <a:lnTo>
                  <a:pt x="16637" y="140969"/>
                </a:lnTo>
                <a:lnTo>
                  <a:pt x="55244" y="140969"/>
                </a:lnTo>
                <a:lnTo>
                  <a:pt x="16637" y="157225"/>
                </a:lnTo>
                <a:lnTo>
                  <a:pt x="38735" y="222250"/>
                </a:lnTo>
                <a:lnTo>
                  <a:pt x="0" y="271017"/>
                </a:lnTo>
                <a:lnTo>
                  <a:pt x="55244" y="308990"/>
                </a:lnTo>
                <a:lnTo>
                  <a:pt x="55244" y="411860"/>
                </a:lnTo>
                <a:lnTo>
                  <a:pt x="93980" y="476884"/>
                </a:lnTo>
                <a:lnTo>
                  <a:pt x="77343" y="525779"/>
                </a:lnTo>
                <a:lnTo>
                  <a:pt x="237617" y="563626"/>
                </a:lnTo>
                <a:lnTo>
                  <a:pt x="210057" y="590803"/>
                </a:lnTo>
                <a:lnTo>
                  <a:pt x="259715" y="628650"/>
                </a:lnTo>
                <a:lnTo>
                  <a:pt x="314960" y="590803"/>
                </a:lnTo>
                <a:lnTo>
                  <a:pt x="979005" y="590803"/>
                </a:lnTo>
                <a:lnTo>
                  <a:pt x="994790" y="579881"/>
                </a:lnTo>
                <a:lnTo>
                  <a:pt x="1005839" y="525779"/>
                </a:lnTo>
                <a:lnTo>
                  <a:pt x="956056" y="449833"/>
                </a:lnTo>
                <a:lnTo>
                  <a:pt x="956056" y="374014"/>
                </a:lnTo>
                <a:lnTo>
                  <a:pt x="900811" y="346837"/>
                </a:lnTo>
                <a:lnTo>
                  <a:pt x="978153" y="298068"/>
                </a:lnTo>
                <a:lnTo>
                  <a:pt x="978153" y="233044"/>
                </a:lnTo>
                <a:lnTo>
                  <a:pt x="939546" y="130047"/>
                </a:lnTo>
                <a:lnTo>
                  <a:pt x="928497" y="92075"/>
                </a:lnTo>
                <a:lnTo>
                  <a:pt x="902041" y="81279"/>
                </a:lnTo>
                <a:lnTo>
                  <a:pt x="536066" y="81279"/>
                </a:lnTo>
                <a:lnTo>
                  <a:pt x="547115" y="65023"/>
                </a:lnTo>
                <a:lnTo>
                  <a:pt x="442087" y="65023"/>
                </a:lnTo>
                <a:lnTo>
                  <a:pt x="419988" y="0"/>
                </a:lnTo>
                <a:close/>
              </a:path>
              <a:path w="1005839" h="769619">
                <a:moveTo>
                  <a:pt x="862202" y="65023"/>
                </a:moveTo>
                <a:lnTo>
                  <a:pt x="563752" y="65023"/>
                </a:lnTo>
                <a:lnTo>
                  <a:pt x="536066" y="81279"/>
                </a:lnTo>
                <a:lnTo>
                  <a:pt x="902041" y="81279"/>
                </a:lnTo>
                <a:lnTo>
                  <a:pt x="862202" y="65023"/>
                </a:lnTo>
                <a:close/>
              </a:path>
              <a:path w="1005839" h="769619">
                <a:moveTo>
                  <a:pt x="547115" y="54228"/>
                </a:moveTo>
                <a:lnTo>
                  <a:pt x="442087" y="65023"/>
                </a:lnTo>
                <a:lnTo>
                  <a:pt x="547115" y="65023"/>
                </a:lnTo>
                <a:lnTo>
                  <a:pt x="547115" y="54228"/>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bg object 165"/>
          <p:cNvSpPr/>
          <p:nvPr/>
        </p:nvSpPr>
        <p:spPr>
          <a:xfrm>
            <a:off x="2932176" y="865631"/>
            <a:ext cx="1005840" cy="769620"/>
          </a:xfrm>
          <a:custGeom>
            <a:avLst/>
            <a:gdLst/>
            <a:ahLst/>
            <a:cxnLst/>
            <a:rect l="l" t="t" r="r" b="b"/>
            <a:pathLst>
              <a:path w="1005839" h="769619">
                <a:moveTo>
                  <a:pt x="547115" y="65023"/>
                </a:moveTo>
                <a:lnTo>
                  <a:pt x="536066" y="81279"/>
                </a:lnTo>
                <a:lnTo>
                  <a:pt x="563752" y="65023"/>
                </a:lnTo>
                <a:lnTo>
                  <a:pt x="862202" y="65023"/>
                </a:lnTo>
                <a:lnTo>
                  <a:pt x="928497" y="92075"/>
                </a:lnTo>
                <a:lnTo>
                  <a:pt x="939546" y="130047"/>
                </a:lnTo>
                <a:lnTo>
                  <a:pt x="978153" y="233044"/>
                </a:lnTo>
                <a:lnTo>
                  <a:pt x="978153" y="298068"/>
                </a:lnTo>
                <a:lnTo>
                  <a:pt x="900811" y="346837"/>
                </a:lnTo>
                <a:lnTo>
                  <a:pt x="956056" y="374014"/>
                </a:lnTo>
                <a:lnTo>
                  <a:pt x="956056" y="449833"/>
                </a:lnTo>
                <a:lnTo>
                  <a:pt x="1005839" y="525779"/>
                </a:lnTo>
                <a:lnTo>
                  <a:pt x="994790" y="579881"/>
                </a:lnTo>
                <a:lnTo>
                  <a:pt x="900811" y="644905"/>
                </a:lnTo>
                <a:lnTo>
                  <a:pt x="851153" y="704595"/>
                </a:lnTo>
                <a:lnTo>
                  <a:pt x="873251" y="769619"/>
                </a:lnTo>
                <a:lnTo>
                  <a:pt x="851153" y="758825"/>
                </a:lnTo>
                <a:lnTo>
                  <a:pt x="773684" y="720851"/>
                </a:lnTo>
                <a:lnTo>
                  <a:pt x="613410" y="720851"/>
                </a:lnTo>
                <a:lnTo>
                  <a:pt x="585851" y="742568"/>
                </a:lnTo>
                <a:lnTo>
                  <a:pt x="536066" y="693801"/>
                </a:lnTo>
                <a:lnTo>
                  <a:pt x="469773" y="704595"/>
                </a:lnTo>
                <a:lnTo>
                  <a:pt x="442087" y="655827"/>
                </a:lnTo>
                <a:lnTo>
                  <a:pt x="381381" y="644905"/>
                </a:lnTo>
                <a:lnTo>
                  <a:pt x="314960" y="590803"/>
                </a:lnTo>
                <a:lnTo>
                  <a:pt x="259715" y="628650"/>
                </a:lnTo>
                <a:lnTo>
                  <a:pt x="210057" y="590803"/>
                </a:lnTo>
                <a:lnTo>
                  <a:pt x="237617" y="563626"/>
                </a:lnTo>
                <a:lnTo>
                  <a:pt x="77343" y="525779"/>
                </a:lnTo>
                <a:lnTo>
                  <a:pt x="93980" y="476884"/>
                </a:lnTo>
                <a:lnTo>
                  <a:pt x="55244" y="411860"/>
                </a:lnTo>
                <a:lnTo>
                  <a:pt x="55244" y="308990"/>
                </a:lnTo>
                <a:lnTo>
                  <a:pt x="0" y="271017"/>
                </a:lnTo>
                <a:lnTo>
                  <a:pt x="38735" y="222250"/>
                </a:lnTo>
                <a:lnTo>
                  <a:pt x="16637" y="157225"/>
                </a:lnTo>
                <a:lnTo>
                  <a:pt x="55244" y="140969"/>
                </a:lnTo>
                <a:lnTo>
                  <a:pt x="16637" y="140969"/>
                </a:lnTo>
                <a:lnTo>
                  <a:pt x="16637" y="130047"/>
                </a:lnTo>
                <a:lnTo>
                  <a:pt x="210057" y="81279"/>
                </a:lnTo>
                <a:lnTo>
                  <a:pt x="248666" y="37972"/>
                </a:lnTo>
                <a:lnTo>
                  <a:pt x="419988" y="0"/>
                </a:lnTo>
                <a:lnTo>
                  <a:pt x="442087" y="65023"/>
                </a:lnTo>
                <a:lnTo>
                  <a:pt x="547115" y="54228"/>
                </a:lnTo>
                <a:lnTo>
                  <a:pt x="547115" y="65023"/>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66" name="bg object 166"/>
          <p:cNvPicPr/>
          <p:nvPr/>
        </p:nvPicPr>
        <p:blipFill>
          <a:blip r:embed="rId60" cstate="print"/>
          <a:stretch>
            <a:fillRect/>
          </a:stretch>
        </p:blipFill>
        <p:spPr>
          <a:xfrm>
            <a:off x="3558540" y="2465857"/>
            <a:ext cx="252234" cy="172948"/>
          </a:xfrm>
          <a:prstGeom prst="rect">
            <a:avLst/>
          </a:prstGeom>
        </p:spPr>
      </p:pic>
      <p:pic>
        <p:nvPicPr>
          <p:cNvPr id="167" name="bg object 167"/>
          <p:cNvPicPr/>
          <p:nvPr/>
        </p:nvPicPr>
        <p:blipFill>
          <a:blip r:embed="rId61" cstate="print"/>
          <a:stretch>
            <a:fillRect/>
          </a:stretch>
        </p:blipFill>
        <p:spPr>
          <a:xfrm>
            <a:off x="3572192" y="2441384"/>
            <a:ext cx="251587" cy="172338"/>
          </a:xfrm>
          <a:prstGeom prst="rect">
            <a:avLst/>
          </a:prstGeom>
        </p:spPr>
      </p:pic>
      <p:pic>
        <p:nvPicPr>
          <p:cNvPr id="168" name="bg object 168"/>
          <p:cNvPicPr/>
          <p:nvPr/>
        </p:nvPicPr>
        <p:blipFill>
          <a:blip r:embed="rId62" cstate="print"/>
          <a:stretch>
            <a:fillRect/>
          </a:stretch>
        </p:blipFill>
        <p:spPr>
          <a:xfrm>
            <a:off x="3819144" y="726947"/>
            <a:ext cx="959358" cy="627126"/>
          </a:xfrm>
          <a:prstGeom prst="rect">
            <a:avLst/>
          </a:prstGeom>
        </p:spPr>
      </p:pic>
      <p:sp>
        <p:nvSpPr>
          <p:cNvPr id="169" name="bg object 169"/>
          <p:cNvSpPr/>
          <p:nvPr/>
        </p:nvSpPr>
        <p:spPr>
          <a:xfrm>
            <a:off x="3834383" y="704087"/>
            <a:ext cx="955675" cy="623570"/>
          </a:xfrm>
          <a:custGeom>
            <a:avLst/>
            <a:gdLst/>
            <a:ahLst/>
            <a:cxnLst/>
            <a:rect l="l" t="t" r="r" b="b"/>
            <a:pathLst>
              <a:path w="955675" h="623569">
                <a:moveTo>
                  <a:pt x="497077" y="0"/>
                </a:moveTo>
                <a:lnTo>
                  <a:pt x="441832" y="37973"/>
                </a:lnTo>
                <a:lnTo>
                  <a:pt x="342391" y="48767"/>
                </a:lnTo>
                <a:lnTo>
                  <a:pt x="364489" y="102997"/>
                </a:lnTo>
                <a:lnTo>
                  <a:pt x="276225" y="151764"/>
                </a:lnTo>
                <a:lnTo>
                  <a:pt x="237489" y="243966"/>
                </a:lnTo>
                <a:lnTo>
                  <a:pt x="132587" y="292735"/>
                </a:lnTo>
                <a:lnTo>
                  <a:pt x="38607" y="292735"/>
                </a:lnTo>
                <a:lnTo>
                  <a:pt x="77342" y="395732"/>
                </a:lnTo>
                <a:lnTo>
                  <a:pt x="77342" y="460756"/>
                </a:lnTo>
                <a:lnTo>
                  <a:pt x="0" y="509524"/>
                </a:lnTo>
                <a:lnTo>
                  <a:pt x="55244" y="536575"/>
                </a:lnTo>
                <a:lnTo>
                  <a:pt x="55244" y="612521"/>
                </a:lnTo>
                <a:lnTo>
                  <a:pt x="132587" y="563752"/>
                </a:lnTo>
                <a:lnTo>
                  <a:pt x="259587" y="563752"/>
                </a:lnTo>
                <a:lnTo>
                  <a:pt x="403225" y="601599"/>
                </a:lnTo>
                <a:lnTo>
                  <a:pt x="508126" y="585342"/>
                </a:lnTo>
                <a:lnTo>
                  <a:pt x="613155" y="623315"/>
                </a:lnTo>
                <a:lnTo>
                  <a:pt x="729106" y="601599"/>
                </a:lnTo>
                <a:lnTo>
                  <a:pt x="773302" y="536575"/>
                </a:lnTo>
                <a:lnTo>
                  <a:pt x="861694" y="536575"/>
                </a:lnTo>
                <a:lnTo>
                  <a:pt x="811911" y="406526"/>
                </a:lnTo>
                <a:lnTo>
                  <a:pt x="889253" y="406526"/>
                </a:lnTo>
                <a:lnTo>
                  <a:pt x="955548" y="357759"/>
                </a:lnTo>
                <a:lnTo>
                  <a:pt x="861694" y="303529"/>
                </a:lnTo>
                <a:lnTo>
                  <a:pt x="795401" y="200533"/>
                </a:lnTo>
                <a:lnTo>
                  <a:pt x="773302" y="59562"/>
                </a:lnTo>
                <a:lnTo>
                  <a:pt x="497077"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bg object 170"/>
          <p:cNvSpPr/>
          <p:nvPr/>
        </p:nvSpPr>
        <p:spPr>
          <a:xfrm>
            <a:off x="3834383" y="704087"/>
            <a:ext cx="955675" cy="623570"/>
          </a:xfrm>
          <a:custGeom>
            <a:avLst/>
            <a:gdLst/>
            <a:ahLst/>
            <a:cxnLst/>
            <a:rect l="l" t="t" r="r" b="b"/>
            <a:pathLst>
              <a:path w="955675" h="623569">
                <a:moveTo>
                  <a:pt x="55244" y="612521"/>
                </a:moveTo>
                <a:lnTo>
                  <a:pt x="55244" y="536575"/>
                </a:lnTo>
                <a:lnTo>
                  <a:pt x="0" y="509524"/>
                </a:lnTo>
                <a:lnTo>
                  <a:pt x="77342" y="460756"/>
                </a:lnTo>
                <a:lnTo>
                  <a:pt x="77342" y="395732"/>
                </a:lnTo>
                <a:lnTo>
                  <a:pt x="38607" y="292735"/>
                </a:lnTo>
                <a:lnTo>
                  <a:pt x="132587" y="292735"/>
                </a:lnTo>
                <a:lnTo>
                  <a:pt x="237489" y="243966"/>
                </a:lnTo>
                <a:lnTo>
                  <a:pt x="276225" y="151764"/>
                </a:lnTo>
                <a:lnTo>
                  <a:pt x="364489" y="102997"/>
                </a:lnTo>
                <a:lnTo>
                  <a:pt x="342391" y="48767"/>
                </a:lnTo>
                <a:lnTo>
                  <a:pt x="441832" y="37973"/>
                </a:lnTo>
                <a:lnTo>
                  <a:pt x="497077" y="0"/>
                </a:lnTo>
                <a:lnTo>
                  <a:pt x="773302" y="59562"/>
                </a:lnTo>
                <a:lnTo>
                  <a:pt x="795401" y="200533"/>
                </a:lnTo>
                <a:lnTo>
                  <a:pt x="861694" y="303529"/>
                </a:lnTo>
                <a:lnTo>
                  <a:pt x="955548" y="357759"/>
                </a:lnTo>
                <a:lnTo>
                  <a:pt x="889253" y="406526"/>
                </a:lnTo>
                <a:lnTo>
                  <a:pt x="811911" y="406526"/>
                </a:lnTo>
                <a:lnTo>
                  <a:pt x="861694" y="536575"/>
                </a:lnTo>
                <a:lnTo>
                  <a:pt x="773302" y="536575"/>
                </a:lnTo>
                <a:lnTo>
                  <a:pt x="729106" y="601599"/>
                </a:lnTo>
                <a:lnTo>
                  <a:pt x="613155" y="623315"/>
                </a:lnTo>
                <a:lnTo>
                  <a:pt x="508126" y="585342"/>
                </a:lnTo>
                <a:lnTo>
                  <a:pt x="403225" y="601599"/>
                </a:lnTo>
                <a:lnTo>
                  <a:pt x="259587" y="563752"/>
                </a:lnTo>
                <a:lnTo>
                  <a:pt x="132587" y="563752"/>
                </a:lnTo>
                <a:lnTo>
                  <a:pt x="55244" y="61252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1" name="bg object 171"/>
          <p:cNvPicPr/>
          <p:nvPr/>
        </p:nvPicPr>
        <p:blipFill>
          <a:blip r:embed="rId63" cstate="print"/>
          <a:stretch>
            <a:fillRect/>
          </a:stretch>
        </p:blipFill>
        <p:spPr>
          <a:xfrm>
            <a:off x="3608832" y="444995"/>
            <a:ext cx="710946" cy="334530"/>
          </a:xfrm>
          <a:prstGeom prst="rect">
            <a:avLst/>
          </a:prstGeom>
        </p:spPr>
      </p:pic>
      <p:sp>
        <p:nvSpPr>
          <p:cNvPr id="172" name="bg object 172"/>
          <p:cNvSpPr/>
          <p:nvPr/>
        </p:nvSpPr>
        <p:spPr>
          <a:xfrm>
            <a:off x="3624071" y="422147"/>
            <a:ext cx="707390" cy="330835"/>
          </a:xfrm>
          <a:custGeom>
            <a:avLst/>
            <a:gdLst/>
            <a:ahLst/>
            <a:cxnLst/>
            <a:rect l="l" t="t" r="r" b="b"/>
            <a:pathLst>
              <a:path w="707389" h="330834">
                <a:moveTo>
                  <a:pt x="419862" y="0"/>
                </a:moveTo>
                <a:lnTo>
                  <a:pt x="325881" y="37973"/>
                </a:lnTo>
                <a:lnTo>
                  <a:pt x="342518" y="124713"/>
                </a:lnTo>
                <a:lnTo>
                  <a:pt x="265175" y="151764"/>
                </a:lnTo>
                <a:lnTo>
                  <a:pt x="226440" y="140969"/>
                </a:lnTo>
                <a:lnTo>
                  <a:pt x="160147" y="48767"/>
                </a:lnTo>
                <a:lnTo>
                  <a:pt x="66293" y="75946"/>
                </a:lnTo>
                <a:lnTo>
                  <a:pt x="0" y="178942"/>
                </a:lnTo>
                <a:lnTo>
                  <a:pt x="0" y="281939"/>
                </a:lnTo>
                <a:lnTo>
                  <a:pt x="105028" y="227711"/>
                </a:lnTo>
                <a:lnTo>
                  <a:pt x="342518" y="254762"/>
                </a:lnTo>
                <a:lnTo>
                  <a:pt x="381126" y="227711"/>
                </a:lnTo>
                <a:lnTo>
                  <a:pt x="408813" y="265684"/>
                </a:lnTo>
                <a:lnTo>
                  <a:pt x="458469" y="281939"/>
                </a:lnTo>
                <a:lnTo>
                  <a:pt x="552450" y="330707"/>
                </a:lnTo>
                <a:lnTo>
                  <a:pt x="651890" y="319913"/>
                </a:lnTo>
                <a:lnTo>
                  <a:pt x="707136" y="281939"/>
                </a:lnTo>
                <a:lnTo>
                  <a:pt x="707136" y="216915"/>
                </a:lnTo>
                <a:lnTo>
                  <a:pt x="651890" y="178942"/>
                </a:lnTo>
                <a:lnTo>
                  <a:pt x="679450" y="113791"/>
                </a:lnTo>
                <a:lnTo>
                  <a:pt x="629792" y="75946"/>
                </a:lnTo>
                <a:lnTo>
                  <a:pt x="552450" y="75946"/>
                </a:lnTo>
                <a:lnTo>
                  <a:pt x="419862"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bg object 173"/>
          <p:cNvSpPr/>
          <p:nvPr/>
        </p:nvSpPr>
        <p:spPr>
          <a:xfrm>
            <a:off x="3624071" y="422147"/>
            <a:ext cx="707390" cy="330835"/>
          </a:xfrm>
          <a:custGeom>
            <a:avLst/>
            <a:gdLst/>
            <a:ahLst/>
            <a:cxnLst/>
            <a:rect l="l" t="t" r="r" b="b"/>
            <a:pathLst>
              <a:path w="707389" h="330834">
                <a:moveTo>
                  <a:pt x="707136" y="281939"/>
                </a:moveTo>
                <a:lnTo>
                  <a:pt x="651890" y="319913"/>
                </a:lnTo>
                <a:lnTo>
                  <a:pt x="552450" y="330707"/>
                </a:lnTo>
                <a:lnTo>
                  <a:pt x="458469" y="281939"/>
                </a:lnTo>
                <a:lnTo>
                  <a:pt x="408813" y="265684"/>
                </a:lnTo>
                <a:lnTo>
                  <a:pt x="381126" y="227711"/>
                </a:lnTo>
                <a:lnTo>
                  <a:pt x="342518" y="254762"/>
                </a:lnTo>
                <a:lnTo>
                  <a:pt x="105028" y="227711"/>
                </a:lnTo>
                <a:lnTo>
                  <a:pt x="0" y="281939"/>
                </a:lnTo>
                <a:lnTo>
                  <a:pt x="0" y="178942"/>
                </a:lnTo>
                <a:lnTo>
                  <a:pt x="66293" y="75946"/>
                </a:lnTo>
                <a:lnTo>
                  <a:pt x="160147" y="48767"/>
                </a:lnTo>
                <a:lnTo>
                  <a:pt x="226440" y="140969"/>
                </a:lnTo>
                <a:lnTo>
                  <a:pt x="265175" y="151764"/>
                </a:lnTo>
                <a:lnTo>
                  <a:pt x="342518" y="124713"/>
                </a:lnTo>
                <a:lnTo>
                  <a:pt x="325881" y="37973"/>
                </a:lnTo>
                <a:lnTo>
                  <a:pt x="419862" y="0"/>
                </a:lnTo>
                <a:lnTo>
                  <a:pt x="552450" y="75946"/>
                </a:lnTo>
                <a:lnTo>
                  <a:pt x="629792" y="75946"/>
                </a:lnTo>
                <a:lnTo>
                  <a:pt x="679450" y="113791"/>
                </a:lnTo>
                <a:lnTo>
                  <a:pt x="651890" y="178942"/>
                </a:lnTo>
                <a:lnTo>
                  <a:pt x="707136" y="216915"/>
                </a:lnTo>
                <a:lnTo>
                  <a:pt x="707136" y="281939"/>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4" name="bg object 174"/>
          <p:cNvPicPr/>
          <p:nvPr/>
        </p:nvPicPr>
        <p:blipFill>
          <a:blip r:embed="rId64" cstate="print"/>
          <a:stretch>
            <a:fillRect/>
          </a:stretch>
        </p:blipFill>
        <p:spPr>
          <a:xfrm>
            <a:off x="2746247" y="1414259"/>
            <a:ext cx="643889" cy="302526"/>
          </a:xfrm>
          <a:prstGeom prst="rect">
            <a:avLst/>
          </a:prstGeom>
        </p:spPr>
      </p:pic>
      <p:sp>
        <p:nvSpPr>
          <p:cNvPr id="175" name="bg object 175"/>
          <p:cNvSpPr/>
          <p:nvPr/>
        </p:nvSpPr>
        <p:spPr>
          <a:xfrm>
            <a:off x="2761488" y="1391411"/>
            <a:ext cx="640080" cy="299085"/>
          </a:xfrm>
          <a:custGeom>
            <a:avLst/>
            <a:gdLst/>
            <a:ahLst/>
            <a:cxnLst/>
            <a:rect l="l" t="t" r="r" b="b"/>
            <a:pathLst>
              <a:path w="640079" h="299085">
                <a:moveTo>
                  <a:pt x="248285" y="0"/>
                </a:moveTo>
                <a:lnTo>
                  <a:pt x="198628" y="0"/>
                </a:lnTo>
                <a:lnTo>
                  <a:pt x="16510" y="65150"/>
                </a:lnTo>
                <a:lnTo>
                  <a:pt x="0" y="157479"/>
                </a:lnTo>
                <a:lnTo>
                  <a:pt x="143510" y="271525"/>
                </a:lnTo>
                <a:lnTo>
                  <a:pt x="237236" y="298703"/>
                </a:lnTo>
                <a:lnTo>
                  <a:pt x="264922" y="244348"/>
                </a:lnTo>
                <a:lnTo>
                  <a:pt x="457962" y="282448"/>
                </a:lnTo>
                <a:lnTo>
                  <a:pt x="573913" y="233552"/>
                </a:lnTo>
                <a:lnTo>
                  <a:pt x="640079" y="179197"/>
                </a:lnTo>
                <a:lnTo>
                  <a:pt x="612521" y="130301"/>
                </a:lnTo>
                <a:lnTo>
                  <a:pt x="551814" y="119507"/>
                </a:lnTo>
                <a:lnTo>
                  <a:pt x="485520" y="65150"/>
                </a:lnTo>
                <a:lnTo>
                  <a:pt x="430403" y="103250"/>
                </a:lnTo>
                <a:lnTo>
                  <a:pt x="380745" y="65150"/>
                </a:lnTo>
                <a:lnTo>
                  <a:pt x="408305" y="37973"/>
                </a:lnTo>
                <a:lnTo>
                  <a:pt x="248285"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bg object 176"/>
          <p:cNvSpPr/>
          <p:nvPr/>
        </p:nvSpPr>
        <p:spPr>
          <a:xfrm>
            <a:off x="2761488" y="1391411"/>
            <a:ext cx="640080" cy="299085"/>
          </a:xfrm>
          <a:custGeom>
            <a:avLst/>
            <a:gdLst/>
            <a:ahLst/>
            <a:cxnLst/>
            <a:rect l="l" t="t" r="r" b="b"/>
            <a:pathLst>
              <a:path w="640079" h="299085">
                <a:moveTo>
                  <a:pt x="640079" y="179197"/>
                </a:moveTo>
                <a:lnTo>
                  <a:pt x="573913" y="233552"/>
                </a:lnTo>
                <a:lnTo>
                  <a:pt x="457962" y="282448"/>
                </a:lnTo>
                <a:lnTo>
                  <a:pt x="264922" y="244348"/>
                </a:lnTo>
                <a:lnTo>
                  <a:pt x="237236" y="298703"/>
                </a:lnTo>
                <a:lnTo>
                  <a:pt x="143510" y="271525"/>
                </a:lnTo>
                <a:lnTo>
                  <a:pt x="0" y="157479"/>
                </a:lnTo>
                <a:lnTo>
                  <a:pt x="16510" y="65150"/>
                </a:lnTo>
                <a:lnTo>
                  <a:pt x="198628" y="0"/>
                </a:lnTo>
                <a:lnTo>
                  <a:pt x="248285" y="0"/>
                </a:lnTo>
                <a:lnTo>
                  <a:pt x="408305" y="37973"/>
                </a:lnTo>
                <a:lnTo>
                  <a:pt x="380745" y="65150"/>
                </a:lnTo>
                <a:lnTo>
                  <a:pt x="430403" y="103250"/>
                </a:lnTo>
                <a:lnTo>
                  <a:pt x="485520" y="65150"/>
                </a:lnTo>
                <a:lnTo>
                  <a:pt x="551814" y="119507"/>
                </a:lnTo>
                <a:lnTo>
                  <a:pt x="612521" y="130301"/>
                </a:lnTo>
                <a:lnTo>
                  <a:pt x="640079" y="179197"/>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7" name="bg object 177"/>
          <p:cNvPicPr/>
          <p:nvPr/>
        </p:nvPicPr>
        <p:blipFill>
          <a:blip r:embed="rId65" cstate="print"/>
          <a:stretch>
            <a:fillRect/>
          </a:stretch>
        </p:blipFill>
        <p:spPr>
          <a:xfrm>
            <a:off x="4160520" y="1723644"/>
            <a:ext cx="352818" cy="372617"/>
          </a:xfrm>
          <a:prstGeom prst="rect">
            <a:avLst/>
          </a:prstGeom>
        </p:spPr>
      </p:pic>
      <p:sp>
        <p:nvSpPr>
          <p:cNvPr id="178" name="bg object 178"/>
          <p:cNvSpPr/>
          <p:nvPr/>
        </p:nvSpPr>
        <p:spPr>
          <a:xfrm>
            <a:off x="4175759" y="1700783"/>
            <a:ext cx="349250" cy="368935"/>
          </a:xfrm>
          <a:custGeom>
            <a:avLst/>
            <a:gdLst/>
            <a:ahLst/>
            <a:cxnLst/>
            <a:rect l="l" t="t" r="r" b="b"/>
            <a:pathLst>
              <a:path w="349250" h="368935">
                <a:moveTo>
                  <a:pt x="116331" y="0"/>
                </a:moveTo>
                <a:lnTo>
                  <a:pt x="0" y="27177"/>
                </a:lnTo>
                <a:lnTo>
                  <a:pt x="38735" y="37973"/>
                </a:lnTo>
                <a:lnTo>
                  <a:pt x="77597" y="102996"/>
                </a:lnTo>
                <a:lnTo>
                  <a:pt x="144017" y="178942"/>
                </a:lnTo>
                <a:lnTo>
                  <a:pt x="166242" y="227837"/>
                </a:lnTo>
                <a:lnTo>
                  <a:pt x="155066" y="309117"/>
                </a:lnTo>
                <a:lnTo>
                  <a:pt x="155066" y="368807"/>
                </a:lnTo>
                <a:lnTo>
                  <a:pt x="232663" y="309117"/>
                </a:lnTo>
                <a:lnTo>
                  <a:pt x="232663" y="244093"/>
                </a:lnTo>
                <a:lnTo>
                  <a:pt x="348995" y="254888"/>
                </a:lnTo>
                <a:lnTo>
                  <a:pt x="299085" y="189864"/>
                </a:lnTo>
                <a:lnTo>
                  <a:pt x="299085" y="140969"/>
                </a:lnTo>
                <a:lnTo>
                  <a:pt x="260350" y="113918"/>
                </a:lnTo>
                <a:lnTo>
                  <a:pt x="260350" y="75945"/>
                </a:lnTo>
                <a:lnTo>
                  <a:pt x="11633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bg object 179"/>
          <p:cNvSpPr/>
          <p:nvPr/>
        </p:nvSpPr>
        <p:spPr>
          <a:xfrm>
            <a:off x="4175759" y="1700783"/>
            <a:ext cx="349250" cy="368935"/>
          </a:xfrm>
          <a:custGeom>
            <a:avLst/>
            <a:gdLst/>
            <a:ahLst/>
            <a:cxnLst/>
            <a:rect l="l" t="t" r="r" b="b"/>
            <a:pathLst>
              <a:path w="349250" h="368935">
                <a:moveTo>
                  <a:pt x="155066" y="368807"/>
                </a:moveTo>
                <a:lnTo>
                  <a:pt x="155066" y="309117"/>
                </a:lnTo>
                <a:lnTo>
                  <a:pt x="166242" y="227837"/>
                </a:lnTo>
                <a:lnTo>
                  <a:pt x="144017" y="178942"/>
                </a:lnTo>
                <a:lnTo>
                  <a:pt x="77597" y="102996"/>
                </a:lnTo>
                <a:lnTo>
                  <a:pt x="38735" y="37973"/>
                </a:lnTo>
                <a:lnTo>
                  <a:pt x="0" y="27177"/>
                </a:lnTo>
                <a:lnTo>
                  <a:pt x="116331" y="0"/>
                </a:lnTo>
                <a:lnTo>
                  <a:pt x="260350" y="75945"/>
                </a:lnTo>
                <a:lnTo>
                  <a:pt x="260350" y="113918"/>
                </a:lnTo>
                <a:lnTo>
                  <a:pt x="299085" y="140969"/>
                </a:lnTo>
                <a:lnTo>
                  <a:pt x="299085" y="189864"/>
                </a:lnTo>
                <a:lnTo>
                  <a:pt x="348995" y="254888"/>
                </a:lnTo>
                <a:lnTo>
                  <a:pt x="232663" y="244093"/>
                </a:lnTo>
                <a:lnTo>
                  <a:pt x="232663" y="309117"/>
                </a:lnTo>
                <a:lnTo>
                  <a:pt x="155066" y="368807"/>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Holder 2"/>
          <p:cNvSpPr>
            <a:spLocks noGrp="1"/>
          </p:cNvSpPr>
          <p:nvPr>
            <p:ph type="ftr" sz="quarter" idx="5"/>
          </p:nvPr>
        </p:nvSpPr>
        <p:spPr/>
        <p:txBody>
          <a:bodyPr lIns="0" tIns="0" rIns="0" bIns="0"/>
          <a:lstStyle>
            <a:lvl1pPr>
              <a:defRPr sz="1200" b="0" i="0">
                <a:solidFill>
                  <a:srgbClr val="7B7B7B"/>
                </a:solidFill>
                <a:latin typeface="Arial"/>
                <a:cs typeface="Arial"/>
              </a:defRPr>
            </a:lvl1pPr>
          </a:lstStyle>
          <a:p>
            <a:pPr marL="12700" marR="0" lvl="0" indent="0" algn="ctr" defTabSz="914400" rtl="0" eaLnBrk="1" fontAlgn="auto" latinLnBrk="0" hangingPunct="1">
              <a:lnSpc>
                <a:spcPts val="2005"/>
              </a:lnSpc>
              <a:spcBef>
                <a:spcPts val="0"/>
              </a:spcBef>
              <a:spcAft>
                <a:spcPts val="0"/>
              </a:spcAft>
              <a:buClrTx/>
              <a:buSzTx/>
              <a:buFontTx/>
              <a:buNone/>
              <a:tabLst/>
              <a:defRPr/>
            </a:pPr>
            <a:r>
              <a:rPr kumimoji="0" sz="2000" b="0" i="0" u="none" strike="noStrike" kern="1200" cap="none" spc="0" normalizeH="0" baseline="0" noProof="0" dirty="0">
                <a:ln>
                  <a:noFill/>
                </a:ln>
                <a:solidFill>
                  <a:srgbClr val="7B7B7B"/>
                </a:solidFill>
                <a:effectLst/>
                <a:uLnTx/>
                <a:uFillTx/>
                <a:latin typeface="Calibri Light"/>
                <a:ea typeface="+mn-ea"/>
                <a:cs typeface="Calibri Light"/>
              </a:rPr>
              <a:t>|</a:t>
            </a:r>
            <a:r>
              <a:rPr kumimoji="0" sz="2000" b="0" i="0" u="none" strike="noStrike" kern="1200" cap="none" spc="-150" normalizeH="0" baseline="0" noProof="0" dirty="0">
                <a:ln>
                  <a:noFill/>
                </a:ln>
                <a:solidFill>
                  <a:srgbClr val="7B7B7B"/>
                </a:solidFill>
                <a:effectLst/>
                <a:uLnTx/>
                <a:uFillTx/>
                <a:latin typeface="Calibri Light"/>
                <a:ea typeface="+mn-ea"/>
                <a:cs typeface="Calibri Light"/>
              </a:rPr>
              <a:t> </a:t>
            </a:r>
            <a:r>
              <a:rPr kumimoji="0" sz="1200" b="0" i="0" u="none" strike="noStrike" kern="1200" cap="none" spc="-114" normalizeH="0" baseline="0" noProof="0" dirty="0">
                <a:ln>
                  <a:noFill/>
                </a:ln>
                <a:solidFill>
                  <a:srgbClr val="7B7B7B"/>
                </a:solidFill>
                <a:effectLst/>
                <a:uLnTx/>
                <a:uFillTx/>
                <a:latin typeface="Arial"/>
                <a:ea typeface="+mn-ea"/>
                <a:cs typeface="Arial"/>
              </a:rPr>
              <a:t>kaparesearch.com</a:t>
            </a:r>
            <a:endParaRPr kumimoji="0" sz="2000" b="0" i="0" u="none" strike="noStrike" kern="1200" cap="none" spc="0" normalizeH="0" baseline="0" noProof="0">
              <a:ln>
                <a:noFill/>
              </a:ln>
              <a:solidFill>
                <a:srgbClr val="7B7B7B"/>
              </a:solidFill>
              <a:effectLst/>
              <a:uLnTx/>
              <a:uFillTx/>
              <a:latin typeface="Calibri Light"/>
              <a:ea typeface="+mn-ea"/>
              <a:cs typeface="Calibri Light"/>
            </a:endParaRPr>
          </a:p>
        </p:txBody>
      </p:sp>
      <p:sp>
        <p:nvSpPr>
          <p:cNvPr id="3" name="Holder 3"/>
          <p:cNvSpPr>
            <a:spLocks noGrp="1"/>
          </p:cNvSpPr>
          <p:nvPr>
            <p:ph type="dt" sz="half" idx="6"/>
          </p:nvPr>
        </p:nvSpPr>
        <p:spPr/>
        <p:txBody>
          <a:bodyPr lIns="0" tIns="0" rIns="0" bIns="0"/>
          <a:lstStyle>
            <a:lvl1pPr>
              <a:defRPr sz="1200" b="0" i="0">
                <a:solidFill>
                  <a:srgbClr val="7E7E7E"/>
                </a:solidFill>
                <a:latin typeface="Georgia"/>
                <a:cs typeface="Georgia"/>
              </a:defRPr>
            </a:lvl1pPr>
          </a:lstStyle>
          <a:p>
            <a:pPr marL="12700" marR="0" lvl="0" indent="0" algn="l" defTabSz="914400" rtl="0" eaLnBrk="1" fontAlgn="auto" latinLnBrk="0" hangingPunct="1">
              <a:lnSpc>
                <a:spcPts val="1275"/>
              </a:lnSpc>
              <a:spcBef>
                <a:spcPts val="0"/>
              </a:spcBef>
              <a:spcAft>
                <a:spcPts val="0"/>
              </a:spcAft>
              <a:buClrTx/>
              <a:buSzTx/>
              <a:buFontTx/>
              <a:buNone/>
              <a:tabLst/>
              <a:defRPr/>
            </a:pPr>
            <a:r>
              <a:rPr kumimoji="0" sz="1200" b="0" i="0" u="none" strike="noStrike" kern="1200" cap="none" spc="-85" normalizeH="0" baseline="0" noProof="0" dirty="0">
                <a:ln>
                  <a:noFill/>
                </a:ln>
                <a:solidFill>
                  <a:srgbClr val="7E7E7E"/>
                </a:solidFill>
                <a:effectLst/>
                <a:uLnTx/>
                <a:uFillTx/>
                <a:latin typeface="Georgia"/>
                <a:ea typeface="+mn-ea"/>
              </a:rPr>
              <a:t>Η</a:t>
            </a:r>
            <a:r>
              <a:rPr kumimoji="0" sz="1200" b="0" i="0" u="none" strike="noStrike" kern="1200" cap="none" spc="-10" normalizeH="0" baseline="0" noProof="0" dirty="0">
                <a:ln>
                  <a:noFill/>
                </a:ln>
                <a:solidFill>
                  <a:srgbClr val="7E7E7E"/>
                </a:solidFill>
                <a:effectLst/>
                <a:uLnTx/>
                <a:uFillTx/>
                <a:latin typeface="Georgia"/>
                <a:ea typeface="+mn-ea"/>
              </a:rPr>
              <a:t> </a:t>
            </a:r>
            <a:r>
              <a:rPr kumimoji="0" sz="1200" b="0" i="0" u="none" strike="noStrike" kern="1200" cap="none" spc="-60" normalizeH="0" baseline="0" noProof="0" dirty="0">
                <a:ln>
                  <a:noFill/>
                </a:ln>
                <a:solidFill>
                  <a:srgbClr val="7E7E7E"/>
                </a:solidFill>
                <a:effectLst/>
                <a:uLnTx/>
                <a:uFillTx/>
                <a:latin typeface="Georgia"/>
                <a:ea typeface="+mn-ea"/>
              </a:rPr>
              <a:t>ενεργειακή</a:t>
            </a:r>
            <a:r>
              <a:rPr kumimoji="0" sz="1200" b="0" i="0" u="none" strike="noStrike" kern="1200" cap="none" spc="0" normalizeH="0" baseline="0" noProof="0" dirty="0">
                <a:ln>
                  <a:noFill/>
                </a:ln>
                <a:solidFill>
                  <a:srgbClr val="7E7E7E"/>
                </a:solidFill>
                <a:effectLst/>
                <a:uLnTx/>
                <a:uFillTx/>
                <a:latin typeface="Georgia"/>
                <a:ea typeface="+mn-ea"/>
              </a:rPr>
              <a:t> </a:t>
            </a:r>
            <a:r>
              <a:rPr kumimoji="0" sz="1200" b="0" i="0" u="none" strike="noStrike" kern="1200" cap="none" spc="-60" normalizeH="0" baseline="0" noProof="0" dirty="0">
                <a:ln>
                  <a:noFill/>
                </a:ln>
                <a:solidFill>
                  <a:srgbClr val="7E7E7E"/>
                </a:solidFill>
                <a:effectLst/>
                <a:uLnTx/>
                <a:uFillTx/>
                <a:latin typeface="Georgia"/>
                <a:ea typeface="+mn-ea"/>
              </a:rPr>
              <a:t>κρίση</a:t>
            </a:r>
            <a:r>
              <a:rPr kumimoji="0" sz="1200" b="0" i="0" u="none" strike="noStrike" kern="1200" cap="none" spc="0" normalizeH="0" baseline="0" noProof="0" dirty="0">
                <a:ln>
                  <a:noFill/>
                </a:ln>
                <a:solidFill>
                  <a:srgbClr val="7E7E7E"/>
                </a:solidFill>
                <a:effectLst/>
                <a:uLnTx/>
                <a:uFillTx/>
                <a:latin typeface="Georgia"/>
                <a:ea typeface="+mn-ea"/>
              </a:rPr>
              <a:t> </a:t>
            </a:r>
            <a:r>
              <a:rPr kumimoji="0" sz="1200" b="0" i="0" u="none" strike="noStrike" kern="1200" cap="none" spc="-70" normalizeH="0" baseline="0" noProof="0" dirty="0">
                <a:ln>
                  <a:noFill/>
                </a:ln>
                <a:solidFill>
                  <a:srgbClr val="7E7E7E"/>
                </a:solidFill>
                <a:effectLst/>
                <a:uLnTx/>
                <a:uFillTx/>
                <a:latin typeface="Georgia"/>
                <a:ea typeface="+mn-ea"/>
              </a:rPr>
              <a:t>στην</a:t>
            </a:r>
            <a:r>
              <a:rPr kumimoji="0" sz="1200" b="0" i="0" u="none" strike="noStrike" kern="1200" cap="none" spc="0" normalizeH="0" baseline="0" noProof="0" dirty="0">
                <a:ln>
                  <a:noFill/>
                </a:ln>
                <a:solidFill>
                  <a:srgbClr val="7E7E7E"/>
                </a:solidFill>
                <a:effectLst/>
                <a:uLnTx/>
                <a:uFillTx/>
                <a:latin typeface="Georgia"/>
                <a:ea typeface="+mn-ea"/>
              </a:rPr>
              <a:t> </a:t>
            </a:r>
            <a:r>
              <a:rPr kumimoji="0" sz="1200" b="0" i="0" u="none" strike="noStrike" kern="1200" cap="none" spc="-65" normalizeH="0" baseline="0" noProof="0" dirty="0">
                <a:ln>
                  <a:noFill/>
                </a:ln>
                <a:solidFill>
                  <a:srgbClr val="7E7E7E"/>
                </a:solidFill>
                <a:effectLst/>
                <a:uLnTx/>
                <a:uFillTx/>
                <a:latin typeface="Georgia"/>
                <a:ea typeface="+mn-ea"/>
              </a:rPr>
              <a:t>Ευρώπη</a:t>
            </a:r>
            <a:r>
              <a:rPr kumimoji="0" sz="1200" b="0" i="0" u="none" strike="noStrike" kern="1200" cap="none" spc="10" normalizeH="0" baseline="0" noProof="0" dirty="0">
                <a:ln>
                  <a:noFill/>
                </a:ln>
                <a:solidFill>
                  <a:srgbClr val="7E7E7E"/>
                </a:solidFill>
                <a:effectLst/>
                <a:uLnTx/>
                <a:uFillTx/>
                <a:latin typeface="Georgia"/>
                <a:ea typeface="+mn-ea"/>
              </a:rPr>
              <a:t> </a:t>
            </a:r>
            <a:r>
              <a:rPr kumimoji="0" sz="1200" b="0" i="0" u="none" strike="noStrike" kern="1200" cap="none" spc="0" normalizeH="0" baseline="0" noProof="0" dirty="0">
                <a:ln>
                  <a:noFill/>
                </a:ln>
                <a:solidFill>
                  <a:srgbClr val="7E7E7E"/>
                </a:solidFill>
                <a:effectLst/>
                <a:uLnTx/>
                <a:uFillTx/>
                <a:latin typeface="Georgia"/>
                <a:ea typeface="+mn-ea"/>
              </a:rPr>
              <a:t>|</a:t>
            </a:r>
            <a:r>
              <a:rPr kumimoji="0" sz="1200" b="0" i="0" u="none" strike="noStrike" kern="1200" cap="none" spc="15" normalizeH="0" baseline="0" noProof="0" dirty="0">
                <a:ln>
                  <a:noFill/>
                </a:ln>
                <a:solidFill>
                  <a:srgbClr val="7E7E7E"/>
                </a:solidFill>
                <a:effectLst/>
                <a:uLnTx/>
                <a:uFillTx/>
                <a:latin typeface="Georgia"/>
                <a:ea typeface="+mn-ea"/>
              </a:rPr>
              <a:t> </a:t>
            </a:r>
            <a:r>
              <a:rPr kumimoji="0" sz="1200" b="0" i="0" u="none" strike="noStrike" kern="1200" cap="none" spc="-60" normalizeH="0" baseline="0" noProof="0" dirty="0">
                <a:ln>
                  <a:noFill/>
                </a:ln>
                <a:solidFill>
                  <a:srgbClr val="001F5F"/>
                </a:solidFill>
                <a:effectLst/>
                <a:uLnTx/>
                <a:uFillTx/>
                <a:latin typeface="Georgia"/>
                <a:ea typeface="+mn-ea"/>
              </a:rPr>
              <a:t>Σεπτέμβριος</a:t>
            </a:r>
            <a:r>
              <a:rPr kumimoji="0" sz="1200" b="0" i="0" u="none" strike="noStrike" kern="1200" cap="none" spc="-5" normalizeH="0" baseline="0" noProof="0" dirty="0">
                <a:ln>
                  <a:noFill/>
                </a:ln>
                <a:solidFill>
                  <a:srgbClr val="001F5F"/>
                </a:solidFill>
                <a:effectLst/>
                <a:uLnTx/>
                <a:uFillTx/>
                <a:latin typeface="Georgia"/>
                <a:ea typeface="+mn-ea"/>
              </a:rPr>
              <a:t> </a:t>
            </a:r>
            <a:r>
              <a:rPr kumimoji="0" sz="1200" b="0" i="0" u="none" strike="noStrike" kern="1200" cap="none" spc="-20" normalizeH="0" baseline="0" noProof="0" dirty="0">
                <a:ln>
                  <a:noFill/>
                </a:ln>
                <a:solidFill>
                  <a:srgbClr val="001F5F"/>
                </a:solidFill>
                <a:effectLst/>
                <a:uLnTx/>
                <a:uFillTx/>
                <a:latin typeface="Georgia"/>
                <a:ea typeface="+mn-ea"/>
              </a:rPr>
              <a:t>2022</a:t>
            </a:r>
          </a:p>
        </p:txBody>
      </p:sp>
      <p:sp>
        <p:nvSpPr>
          <p:cNvPr id="4" name="Holder 4"/>
          <p:cNvSpPr>
            <a:spLocks noGrp="1"/>
          </p:cNvSpPr>
          <p:nvPr>
            <p:ph type="sldNum" sz="quarter" idx="7"/>
          </p:nvPr>
        </p:nvSpPr>
        <p:spPr/>
        <p:txBody>
          <a:bodyPr lIns="0" tIns="0" rIns="0" bIns="0"/>
          <a:lstStyle>
            <a:lvl1pPr>
              <a:defRPr sz="1400" b="1" i="0">
                <a:solidFill>
                  <a:srgbClr val="252525"/>
                </a:solidFill>
                <a:latin typeface="Arial"/>
                <a:cs typeface="Arial"/>
              </a:defRPr>
            </a:lvl1pPr>
          </a:lstStyle>
          <a:p>
            <a:pPr marL="38100" marR="0" lvl="0" indent="0" algn="r" defTabSz="914400" rtl="0" eaLnBrk="1" fontAlgn="auto" latinLnBrk="0" hangingPunct="1">
              <a:lnSpc>
                <a:spcPct val="100000"/>
              </a:lnSpc>
              <a:spcBef>
                <a:spcPts val="10"/>
              </a:spcBef>
              <a:spcAft>
                <a:spcPts val="0"/>
              </a:spcAft>
              <a:buClrTx/>
              <a:buSzTx/>
              <a:buFontTx/>
              <a:buNone/>
              <a:tabLst/>
              <a:defRPr/>
            </a:pPr>
            <a:fld id="{81D60167-4931-47E6-BA6A-407CBD079E47}" type="slidenum">
              <a:rPr kumimoji="0" sz="1400" b="1" i="0" u="none" strike="noStrike" kern="1200" cap="none" spc="-140" normalizeH="0" baseline="0" noProof="0" dirty="0">
                <a:ln>
                  <a:noFill/>
                </a:ln>
                <a:solidFill>
                  <a:srgbClr val="252525"/>
                </a:solidFill>
                <a:effectLst/>
                <a:uLnTx/>
                <a:uFillTx/>
                <a:latin typeface="Arial"/>
                <a:ea typeface="+mn-ea"/>
                <a:cs typeface="Arial"/>
              </a:rPr>
              <a:pPr marL="38100" marR="0" lvl="0" indent="0" algn="r" defTabSz="914400" rtl="0" eaLnBrk="1" fontAlgn="auto" latinLnBrk="0" hangingPunct="1">
                <a:lnSpc>
                  <a:spcPct val="100000"/>
                </a:lnSpc>
                <a:spcBef>
                  <a:spcPts val="10"/>
                </a:spcBef>
                <a:spcAft>
                  <a:spcPts val="0"/>
                </a:spcAft>
                <a:buClrTx/>
                <a:buSzTx/>
                <a:buFontTx/>
                <a:buNone/>
                <a:tabLst/>
                <a:defRPr/>
              </a:pPr>
              <a:t>‹#›</a:t>
            </a:fld>
            <a:endParaRPr kumimoji="0" sz="1400" b="1" i="0" u="none" strike="noStrike" kern="1200" cap="none" spc="-140" normalizeH="0" baseline="0" noProof="0" dirty="0">
              <a:ln>
                <a:noFill/>
              </a:ln>
              <a:solidFill>
                <a:srgbClr val="252525"/>
              </a:solidFill>
              <a:effectLst/>
              <a:uLnTx/>
              <a:uFillTx/>
              <a:latin typeface="Arial"/>
              <a:ea typeface="+mn-ea"/>
              <a:cs typeface="Arial"/>
            </a:endParaRPr>
          </a:p>
        </p:txBody>
      </p:sp>
    </p:spTree>
    <p:extLst>
      <p:ext uri="{BB962C8B-B14F-4D97-AF65-F5344CB8AC3E}">
        <p14:creationId xmlns:p14="http://schemas.microsoft.com/office/powerpoint/2010/main" val="26375568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Ορθογώνιο 1">
            <a:extLst>
              <a:ext uri="{FF2B5EF4-FFF2-40B4-BE49-F238E27FC236}">
                <a16:creationId xmlns:a16="http://schemas.microsoft.com/office/drawing/2014/main" xmlns="" id="{AA76AF0C-FD0B-3506-AD79-627878FEE504}"/>
              </a:ext>
            </a:extLst>
          </p:cNvPr>
          <p:cNvSpPr/>
          <p:nvPr userDrawn="1"/>
        </p:nvSpPr>
        <p:spPr>
          <a:xfrm>
            <a:off x="0" y="0"/>
            <a:ext cx="1876097" cy="6858000"/>
          </a:xfrm>
          <a:prstGeom prst="rect">
            <a:avLst/>
          </a:prstGeom>
          <a:gradFill>
            <a:gsLst>
              <a:gs pos="39000">
                <a:schemeClr val="accent1">
                  <a:lumMod val="75000"/>
                </a:schemeClr>
              </a:gs>
              <a:gs pos="79000">
                <a:schemeClr val="accent6"/>
              </a:gs>
              <a:gs pos="100000">
                <a:schemeClr val="bg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EEAD2AE-396D-4C5C-8389-DAC89B90429D}" type="slidenum">
              <a:rPr kumimoji="0" lang="en-US" sz="1200" b="0" i="0" u="none" strike="noStrike" kern="1200" cap="none" spc="0" normalizeH="0" baseline="0" noProof="0" smtClean="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xmlns=""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xmlns="" id="{7563C78B-A32C-1321-F2ED-025536336068}"/>
              </a:ext>
            </a:extLst>
          </p:cNvPr>
          <p:cNvSpPr txBox="1"/>
          <p:nvPr userDrawn="1"/>
        </p:nvSpPr>
        <p:spPr>
          <a:xfrm>
            <a:off x="15766" y="1109604"/>
            <a:ext cx="1834155"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100" b="0" i="0" u="none" strike="noStrike" kern="1200" cap="none" spc="0" normalizeH="0" baseline="0" noProof="0" dirty="0">
                <a:ln>
                  <a:noFill/>
                </a:ln>
                <a:solidFill>
                  <a:srgbClr val="E7E6E6"/>
                </a:solidFill>
                <a:effectLst/>
                <a:uLnTx/>
                <a:uFillTx/>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p:txBody>
      </p:sp>
      <p:sp>
        <p:nvSpPr>
          <p:cNvPr id="21" name="Title 1">
            <a:extLst>
              <a:ext uri="{FF2B5EF4-FFF2-40B4-BE49-F238E27FC236}">
                <a16:creationId xmlns:a16="http://schemas.microsoft.com/office/drawing/2014/main" xmlns="" id="{78AB1D91-04B5-DA00-3EDA-10C4F89E8457}"/>
              </a:ext>
            </a:extLst>
          </p:cNvPr>
          <p:cNvSpPr>
            <a:spLocks noGrp="1"/>
          </p:cNvSpPr>
          <p:nvPr>
            <p:ph type="title"/>
          </p:nvPr>
        </p:nvSpPr>
        <p:spPr>
          <a:xfrm>
            <a:off x="1952090" y="71943"/>
            <a:ext cx="10224144" cy="672923"/>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cxnSp>
        <p:nvCxnSpPr>
          <p:cNvPr id="3" name="Straight Connector 3">
            <a:extLst>
              <a:ext uri="{FF2B5EF4-FFF2-40B4-BE49-F238E27FC236}">
                <a16:creationId xmlns:a16="http://schemas.microsoft.com/office/drawing/2014/main" xmlns="" id="{A42EE5EF-125E-D471-09A4-7FEF175208A5}"/>
              </a:ext>
            </a:extLst>
          </p:cNvPr>
          <p:cNvCxnSpPr>
            <a:cxnSpLocks/>
          </p:cNvCxnSpPr>
          <p:nvPr userDrawn="1"/>
        </p:nvCxnSpPr>
        <p:spPr>
          <a:xfrm>
            <a:off x="1952090" y="844839"/>
            <a:ext cx="10011311"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4" name="Straight Connector 3">
            <a:extLst>
              <a:ext uri="{FF2B5EF4-FFF2-40B4-BE49-F238E27FC236}">
                <a16:creationId xmlns:a16="http://schemas.microsoft.com/office/drawing/2014/main" xmlns="" id="{EB7D3B70-AE43-9791-3C95-AA4F0E6419BB}"/>
              </a:ext>
            </a:extLst>
          </p:cNvPr>
          <p:cNvCxnSpPr>
            <a:cxnSpLocks/>
          </p:cNvCxnSpPr>
          <p:nvPr userDrawn="1"/>
        </p:nvCxnSpPr>
        <p:spPr>
          <a:xfrm>
            <a:off x="1876097" y="6411019"/>
            <a:ext cx="10081493"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913826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Ορθογώνιο 1">
            <a:extLst>
              <a:ext uri="{FF2B5EF4-FFF2-40B4-BE49-F238E27FC236}">
                <a16:creationId xmlns:a16="http://schemas.microsoft.com/office/drawing/2014/main" xmlns="" id="{AA76AF0C-FD0B-3506-AD79-627878FEE504}"/>
              </a:ext>
            </a:extLst>
          </p:cNvPr>
          <p:cNvSpPr/>
          <p:nvPr userDrawn="1"/>
        </p:nvSpPr>
        <p:spPr>
          <a:xfrm>
            <a:off x="0" y="0"/>
            <a:ext cx="1876097" cy="6858000"/>
          </a:xfrm>
          <a:prstGeom prst="rect">
            <a:avLst/>
          </a:prstGeom>
          <a:gradFill>
            <a:gsLst>
              <a:gs pos="39000">
                <a:schemeClr val="accent1">
                  <a:lumMod val="75000"/>
                </a:schemeClr>
              </a:gs>
              <a:gs pos="79000">
                <a:schemeClr val="accent6"/>
              </a:gs>
              <a:gs pos="100000">
                <a:schemeClr val="bg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EEAD2AE-396D-4C5C-8389-DAC89B90429D}" type="slidenum">
              <a:rPr kumimoji="0" lang="en-US" sz="1200" b="0" i="0" u="none" strike="noStrike" kern="1200" cap="none" spc="0" normalizeH="0" baseline="0" noProof="0" smtClean="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xmlns=""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xmlns="" id="{7563C78B-A32C-1321-F2ED-025536336068}"/>
              </a:ext>
            </a:extLst>
          </p:cNvPr>
          <p:cNvSpPr txBox="1"/>
          <p:nvPr userDrawn="1"/>
        </p:nvSpPr>
        <p:spPr>
          <a:xfrm>
            <a:off x="15766" y="1109604"/>
            <a:ext cx="1834155"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100" b="0" i="0" u="none" strike="noStrike" kern="1200" cap="none" spc="0" normalizeH="0" baseline="0" noProof="0" dirty="0">
                <a:ln>
                  <a:noFill/>
                </a:ln>
                <a:solidFill>
                  <a:srgbClr val="E7E6E6"/>
                </a:solidFill>
                <a:effectLst/>
                <a:uLnTx/>
                <a:uFillTx/>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p:txBody>
      </p:sp>
      <p:sp>
        <p:nvSpPr>
          <p:cNvPr id="21" name="Title 1">
            <a:extLst>
              <a:ext uri="{FF2B5EF4-FFF2-40B4-BE49-F238E27FC236}">
                <a16:creationId xmlns:a16="http://schemas.microsoft.com/office/drawing/2014/main" xmlns="" id="{78AB1D91-04B5-DA00-3EDA-10C4F89E8457}"/>
              </a:ext>
            </a:extLst>
          </p:cNvPr>
          <p:cNvSpPr>
            <a:spLocks noGrp="1"/>
          </p:cNvSpPr>
          <p:nvPr>
            <p:ph type="title"/>
          </p:nvPr>
        </p:nvSpPr>
        <p:spPr>
          <a:xfrm>
            <a:off x="1849922" y="1"/>
            <a:ext cx="10326312" cy="914400"/>
          </a:xfrm>
          <a:noFill/>
          <a:ln>
            <a:noFill/>
          </a:ln>
        </p:spPr>
        <p:txBody>
          <a:bodyPr>
            <a:normAutofit/>
          </a:bodyPr>
          <a:lstStyle>
            <a:lvl1pPr algn="l">
              <a:lnSpc>
                <a:spcPct val="100000"/>
              </a:lnSpc>
              <a:defRPr sz="2000">
                <a:solidFill>
                  <a:srgbClr val="002060"/>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Tree>
    <p:extLst>
      <p:ext uri="{BB962C8B-B14F-4D97-AF65-F5344CB8AC3E}">
        <p14:creationId xmlns:p14="http://schemas.microsoft.com/office/powerpoint/2010/main" val="35869635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026950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xmlns=""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xmlns=""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xmlns=""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xmlns="" id="{8FFC5EFA-01A0-4033-8D7E-3C2B1F490A33}"/>
              </a:ext>
            </a:extLst>
          </p:cNvPr>
          <p:cNvSpPr>
            <a:spLocks noGrp="1"/>
          </p:cNvSpPr>
          <p:nvPr>
            <p:ph type="title"/>
            <p:custDataLst>
              <p:tags r:id="rId6"/>
            </p:custDataLst>
          </p:nvPr>
        </p:nvSpPr>
        <p:spPr>
          <a:xfrm>
            <a:off x="554736" y="17919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xmlns="" id="{1555BB7F-874D-4148-9E84-841F62C8E9D4}"/>
              </a:ext>
            </a:extLst>
          </p:cNvPr>
          <p:cNvSpPr>
            <a:spLocks noGrp="1"/>
          </p:cNvSpPr>
          <p:nvPr>
            <p:ph type="subTitle" idx="1"/>
            <p:custDataLst>
              <p:tags r:id="rId7"/>
            </p:custDataLst>
          </p:nvPr>
        </p:nvSpPr>
        <p:spPr>
          <a:xfrm>
            <a:off x="554736" y="653409"/>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xmlns="" id="{F5E9C22A-A356-4521-A359-338A663DFEA2}"/>
              </a:ext>
            </a:extLst>
          </p:cNvPr>
          <p:cNvSpPr txBox="1">
            <a:spLocks/>
          </p:cNvSpPr>
          <p:nvPr userDrawn="1">
            <p:custDataLst>
              <p:tags r:id="rId8"/>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xmlns=""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xmlns="" id="{ED7D5AAF-A7A9-4D81-A0C1-2E7AB65CC99F}"/>
              </a:ext>
            </a:extLst>
          </p:cNvPr>
          <p:cNvPicPr>
            <a:picLocks noChangeAspect="1"/>
          </p:cNvPicPr>
          <p:nvPr userDrawn="1"/>
        </p:nvPicPr>
        <p:blipFill>
          <a:blip r:embed="rId13"/>
          <a:stretch>
            <a:fillRect/>
          </a:stretch>
        </p:blipFill>
        <p:spPr>
          <a:xfrm>
            <a:off x="10688315" y="6436890"/>
            <a:ext cx="542591" cy="280440"/>
          </a:xfrm>
          <a:prstGeom prst="rect">
            <a:avLst/>
          </a:prstGeom>
        </p:spPr>
      </p:pic>
    </p:spTree>
    <p:extLst>
      <p:ext uri="{BB962C8B-B14F-4D97-AF65-F5344CB8AC3E}">
        <p14:creationId xmlns:p14="http://schemas.microsoft.com/office/powerpoint/2010/main" val="39112127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501336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xmlns=""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xmlns="" id="{0415F114-7B0E-43F2-8881-F0D9FB2A643B}"/>
              </a:ext>
            </a:extLst>
          </p:cNvPr>
          <p:cNvSpPr>
            <a:spLocks noGrp="1"/>
          </p:cNvSpPr>
          <p:nvPr>
            <p:ph type="title"/>
            <p:custDataLst>
              <p:tags r:id="rId4"/>
            </p:custDataLst>
          </p:nvPr>
        </p:nvSpPr>
        <p:spPr>
          <a:xfrm>
            <a:off x="554736" y="179192"/>
            <a:ext cx="6967728" cy="384721"/>
          </a:xfrm>
        </p:spPr>
        <p:txBody>
          <a:bodyPr vert="horz">
            <a:no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xmlns=""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xmlns=""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xmlns="" id="{712BED6B-950C-4FB8-AEE1-14FA61D013FF}"/>
              </a:ext>
            </a:extLst>
          </p:cNvPr>
          <p:cNvSpPr>
            <a:spLocks noGrp="1"/>
          </p:cNvSpPr>
          <p:nvPr>
            <p:ph type="subTitle" idx="1"/>
            <p:custDataLst>
              <p:tags r:id="rId7"/>
            </p:custDataLst>
          </p:nvPr>
        </p:nvSpPr>
        <p:spPr>
          <a:xfrm>
            <a:off x="554736" y="653409"/>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xmlns="" id="{F25A304F-F50E-4F96-991D-CFEB07060178}"/>
              </a:ext>
            </a:extLst>
          </p:cNvPr>
          <p:cNvSpPr txBox="1">
            <a:spLocks/>
          </p:cNvSpPr>
          <p:nvPr userDrawn="1">
            <p:custDataLst>
              <p:tags r:id="rId8"/>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xmlns=""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xmlns="" id="{441BA4B9-E90D-4FA5-A896-DFAEA9B2DBDA}"/>
              </a:ext>
            </a:extLst>
          </p:cNvPr>
          <p:cNvPicPr>
            <a:picLocks noChangeAspect="1"/>
          </p:cNvPicPr>
          <p:nvPr userDrawn="1"/>
        </p:nvPicPr>
        <p:blipFill>
          <a:blip r:embed="rId13"/>
          <a:stretch>
            <a:fillRect/>
          </a:stretch>
        </p:blipFill>
        <p:spPr>
          <a:xfrm>
            <a:off x="10688315" y="6436890"/>
            <a:ext cx="542591" cy="280440"/>
          </a:xfrm>
          <a:prstGeom prst="rect">
            <a:avLst/>
          </a:prstGeom>
        </p:spPr>
      </p:pic>
    </p:spTree>
    <p:extLst>
      <p:ext uri="{BB962C8B-B14F-4D97-AF65-F5344CB8AC3E}">
        <p14:creationId xmlns:p14="http://schemas.microsoft.com/office/powerpoint/2010/main" val="40372714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2"/>
        <p:cNvGrpSpPr/>
        <p:nvPr/>
      </p:nvGrpSpPr>
      <p:grpSpPr>
        <a:xfrm>
          <a:off x="0" y="0"/>
          <a:ext cx="0" cy="0"/>
          <a:chOff x="0" y="0"/>
          <a:chExt cx="0" cy="0"/>
        </a:xfrm>
      </p:grpSpPr>
      <p:sp>
        <p:nvSpPr>
          <p:cNvPr id="23" name="Google Shape;23;p85"/>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E4E79"/>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85"/>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85"/>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8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pPr marL="0" lvl="0" indent="0" algn="r" rtl="0">
                <a:spcBef>
                  <a:spcPts val="0"/>
                </a:spcBef>
                <a:spcAft>
                  <a:spcPts val="0"/>
                </a:spcAft>
                <a:buNone/>
              </a:pPr>
              <a:t>‹#›</a:t>
            </a:fld>
            <a:endParaRPr/>
          </a:p>
        </p:txBody>
      </p:sp>
    </p:spTree>
    <p:extLst>
      <p:ext uri="{BB962C8B-B14F-4D97-AF65-F5344CB8AC3E}">
        <p14:creationId xmlns:p14="http://schemas.microsoft.com/office/powerpoint/2010/main" val="37279789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Κενό">
    <p:bg>
      <p:bgPr>
        <a:solidFill>
          <a:schemeClr val="tx1">
            <a:alpha val="65000"/>
          </a:schemeClr>
        </a:solid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xmlns="" id="{19A92C29-B134-9E4D-995D-1DBEF0D19158}"/>
              </a:ext>
            </a:extLst>
          </p:cNvPr>
          <p:cNvSpPr>
            <a:spLocks noGrp="1"/>
          </p:cNvSpPr>
          <p:nvPr>
            <p:ph type="sldNum" sz="quarter" idx="10"/>
          </p:nvPr>
        </p:nvSpPr>
        <p:spPr>
          <a:xfrm>
            <a:off x="9239251" y="6481046"/>
            <a:ext cx="2743200" cy="365125"/>
          </a:xfrm>
        </p:spPr>
        <p:txBody>
          <a:bodyPr/>
          <a:lstStyle>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sp>
        <p:nvSpPr>
          <p:cNvPr id="7" name="Τίτλος 1">
            <a:extLst>
              <a:ext uri="{FF2B5EF4-FFF2-40B4-BE49-F238E27FC236}">
                <a16:creationId xmlns:a16="http://schemas.microsoft.com/office/drawing/2014/main" xmlns="" id="{9C54EACD-86EF-DE43-8A53-0631739CE0A1}"/>
              </a:ext>
            </a:extLst>
          </p:cNvPr>
          <p:cNvSpPr>
            <a:spLocks noGrp="1"/>
          </p:cNvSpPr>
          <p:nvPr>
            <p:ph type="ctrTitle"/>
          </p:nvPr>
        </p:nvSpPr>
        <p:spPr>
          <a:xfrm>
            <a:off x="7184570" y="1122363"/>
            <a:ext cx="4797881" cy="2387600"/>
          </a:xfrm>
        </p:spPr>
        <p:txBody>
          <a:bodyPr anchor="b">
            <a:normAutofit/>
          </a:bodyPr>
          <a:lstStyle>
            <a:lvl1pPr algn="r">
              <a:defRPr sz="4000" b="1">
                <a:solidFill>
                  <a:srgbClr val="FFC000"/>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l-GR" dirty="0"/>
              <a:t>Κάντε κλικ για να επεξεργαστείτε τον τίτλο υποδείγματος</a:t>
            </a:r>
          </a:p>
        </p:txBody>
      </p:sp>
      <p:sp>
        <p:nvSpPr>
          <p:cNvPr id="8" name="Υπότιτλος 2">
            <a:extLst>
              <a:ext uri="{FF2B5EF4-FFF2-40B4-BE49-F238E27FC236}">
                <a16:creationId xmlns:a16="http://schemas.microsoft.com/office/drawing/2014/main" xmlns="" id="{68F0A67E-C314-6242-B626-A0BC6DBA0DCE}"/>
              </a:ext>
            </a:extLst>
          </p:cNvPr>
          <p:cNvSpPr>
            <a:spLocks noGrp="1"/>
          </p:cNvSpPr>
          <p:nvPr>
            <p:ph type="subTitle" idx="1"/>
          </p:nvPr>
        </p:nvSpPr>
        <p:spPr>
          <a:xfrm>
            <a:off x="7184570" y="3690938"/>
            <a:ext cx="4797881" cy="1655762"/>
          </a:xfrm>
        </p:spPr>
        <p:txBody>
          <a:bodyPr anchor="b">
            <a:normAutofit/>
          </a:bodyPr>
          <a:lstStyle>
            <a:lvl1pPr marL="0" indent="0" algn="r">
              <a:buNone/>
              <a:defRPr sz="2000">
                <a:solidFill>
                  <a:srgbClr val="FFC000"/>
                </a:solidFill>
                <a:latin typeface="Helvetica Neue" panose="02000503000000020004" pitchFamily="2" charset="0"/>
                <a:ea typeface="Helvetica Neue" panose="02000503000000020004" pitchFamily="2" charset="0"/>
                <a:cs typeface="Helvetica Neue"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l-GR" dirty="0"/>
              <a:t>Κάντε κλικ για να επεξεργαστείτε τον υπότιτλο του υποδείγματος</a:t>
            </a:r>
          </a:p>
        </p:txBody>
      </p:sp>
      <p:pic>
        <p:nvPicPr>
          <p:cNvPr id="9" name="Picture 4">
            <a:extLst>
              <a:ext uri="{FF2B5EF4-FFF2-40B4-BE49-F238E27FC236}">
                <a16:creationId xmlns:a16="http://schemas.microsoft.com/office/drawing/2014/main" xmlns="" id="{4D6282DA-4E89-6248-9EEE-DE41E0F11D4C}"/>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10478"/>
          <a:stretch/>
        </p:blipFill>
        <p:spPr bwMode="auto">
          <a:xfrm>
            <a:off x="193517" y="1350458"/>
            <a:ext cx="6907230" cy="40314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33405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220618" y="1308135"/>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sp>
        <p:nvSpPr>
          <p:cNvPr id="2" name="Title 1"/>
          <p:cNvSpPr>
            <a:spLocks noGrp="1"/>
          </p:cNvSpPr>
          <p:nvPr>
            <p:ph type="title"/>
          </p:nvPr>
        </p:nvSpPr>
        <p:spPr>
          <a:xfrm>
            <a:off x="220618" y="116890"/>
            <a:ext cx="11723735" cy="1100485"/>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cxnSp>
        <p:nvCxnSpPr>
          <p:cNvPr id="11" name="Straight Connector 3">
            <a:extLst>
              <a:ext uri="{FF2B5EF4-FFF2-40B4-BE49-F238E27FC236}">
                <a16:creationId xmlns:a16="http://schemas.microsoft.com/office/drawing/2014/main" xmlns="" id="{6CF2C8B3-7827-AD49-9D10-20340A91BDC3}"/>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Tree>
    <p:extLst>
      <p:ext uri="{BB962C8B-B14F-4D97-AF65-F5344CB8AC3E}">
        <p14:creationId xmlns:p14="http://schemas.microsoft.com/office/powerpoint/2010/main" val="33746934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928722"/>
            <a:ext cx="11723735" cy="5085684"/>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0618" y="116891"/>
            <a:ext cx="11723735" cy="639014"/>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cxnSp>
        <p:nvCxnSpPr>
          <p:cNvPr id="9" name="Straight Connector 3">
            <a:extLst>
              <a:ext uri="{FF2B5EF4-FFF2-40B4-BE49-F238E27FC236}">
                <a16:creationId xmlns:a16="http://schemas.microsoft.com/office/drawing/2014/main" xmlns="" id="{9FCE0830-C600-8E4F-A3CA-72298C2E04E9}"/>
              </a:ext>
            </a:extLst>
          </p:cNvPr>
          <p:cNvCxnSpPr>
            <a:cxnSpLocks/>
          </p:cNvCxnSpPr>
          <p:nvPr userDrawn="1"/>
        </p:nvCxnSpPr>
        <p:spPr>
          <a:xfrm>
            <a:off x="220618" y="844839"/>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10" name="Straight Connector 3">
            <a:extLst>
              <a:ext uri="{FF2B5EF4-FFF2-40B4-BE49-F238E27FC236}">
                <a16:creationId xmlns:a16="http://schemas.microsoft.com/office/drawing/2014/main" xmlns="" id="{A2D697A8-0CA1-CD4C-A4DA-040F435D7A50}"/>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41265703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220618" y="1308135"/>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sp>
        <p:nvSpPr>
          <p:cNvPr id="2" name="Title 1"/>
          <p:cNvSpPr>
            <a:spLocks noGrp="1"/>
          </p:cNvSpPr>
          <p:nvPr>
            <p:ph type="title"/>
          </p:nvPr>
        </p:nvSpPr>
        <p:spPr>
          <a:xfrm>
            <a:off x="220618" y="116890"/>
            <a:ext cx="11723735" cy="1100485"/>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cxnSp>
        <p:nvCxnSpPr>
          <p:cNvPr id="11" name="Straight Connector 3">
            <a:extLst>
              <a:ext uri="{FF2B5EF4-FFF2-40B4-BE49-F238E27FC236}">
                <a16:creationId xmlns:a16="http://schemas.microsoft.com/office/drawing/2014/main" xmlns="" id="{6CF2C8B3-7827-AD49-9D10-20340A91BDC3}"/>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Tree>
    <p:extLst>
      <p:ext uri="{BB962C8B-B14F-4D97-AF65-F5344CB8AC3E}">
        <p14:creationId xmlns:p14="http://schemas.microsoft.com/office/powerpoint/2010/main" val="30076275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0618" y="116890"/>
            <a:ext cx="11723735" cy="1100485"/>
          </a:xfrm>
          <a:solidFill>
            <a:schemeClr val="bg1">
              <a:lumMod val="50000"/>
            </a:schemeClr>
          </a:solidFill>
        </p:spPr>
        <p:txBody>
          <a:bodyPr>
            <a:normAutofit/>
          </a:bodyPr>
          <a:lstStyle>
            <a:lvl1pPr algn="l">
              <a:lnSpc>
                <a:spcPct val="100000"/>
              </a:lnSpc>
              <a:defRPr sz="200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cxnSp>
        <p:nvCxnSpPr>
          <p:cNvPr id="9" name="Straight Connector 3">
            <a:extLst>
              <a:ext uri="{FF2B5EF4-FFF2-40B4-BE49-F238E27FC236}">
                <a16:creationId xmlns:a16="http://schemas.microsoft.com/office/drawing/2014/main" xmlns="" id="{48A5DEB4-0EE9-7B44-935A-786F8C017368}"/>
              </a:ext>
            </a:extLst>
          </p:cNvPr>
          <p:cNvCxnSpPr>
            <a:cxnSpLocks/>
          </p:cNvCxnSpPr>
          <p:nvPr userDrawn="1"/>
        </p:nvCxnSpPr>
        <p:spPr>
          <a:xfrm>
            <a:off x="220618" y="1308135"/>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10" name="Straight Connector 3">
            <a:extLst>
              <a:ext uri="{FF2B5EF4-FFF2-40B4-BE49-F238E27FC236}">
                <a16:creationId xmlns:a16="http://schemas.microsoft.com/office/drawing/2014/main" xmlns="" id="{478409B9-6B2E-7A41-8737-F37A31ADB8DB}"/>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11759482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pic>
        <p:nvPicPr>
          <p:cNvPr id="9" name="Εικόνα 8">
            <a:extLst>
              <a:ext uri="{FF2B5EF4-FFF2-40B4-BE49-F238E27FC236}">
                <a16:creationId xmlns:a16="http://schemas.microsoft.com/office/drawing/2014/main" xmlns="" id="{99390971-36F8-3049-8AEA-134B167ABC02}"/>
              </a:ext>
            </a:extLst>
          </p:cNvPr>
          <p:cNvPicPr>
            <a:picLocks noChangeAspect="1"/>
          </p:cNvPicPr>
          <p:nvPr userDrawn="1"/>
        </p:nvPicPr>
        <p:blipFill>
          <a:blip r:embed="rId3">
            <a:extLst>
              <a:ext uri="{28A0092B-C50C-407E-A947-70E740481C1C}">
                <a14:useLocalDpi xmlns:a14="http://schemas.microsoft.com/office/drawing/2010/main" val="0"/>
              </a:ext>
            </a:extLst>
          </a:blip>
          <a:srcRect l="20319" r="20319"/>
          <a:stretch/>
        </p:blipFill>
        <p:spPr>
          <a:xfrm>
            <a:off x="7736159" y="254724"/>
            <a:ext cx="1404000" cy="1351487"/>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pic>
        <p:nvPicPr>
          <p:cNvPr id="10" name="Εικόνα 9" descr="Εικόνα που περιέχει άτομο, υπαίθριος, έδαφος, μικρός&#10;&#10;Περιγραφή που δημιουργήθηκε αυτόματα">
            <a:extLst>
              <a:ext uri="{FF2B5EF4-FFF2-40B4-BE49-F238E27FC236}">
                <a16:creationId xmlns:a16="http://schemas.microsoft.com/office/drawing/2014/main" xmlns="" id="{BAE914F5-348E-3345-BD4C-A89793F4410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8600" r="-3" b="5929"/>
          <a:stretch/>
        </p:blipFill>
        <p:spPr>
          <a:xfrm>
            <a:off x="6261607" y="35"/>
            <a:ext cx="1080000" cy="923055"/>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2" name="Picture 5">
            <a:extLst>
              <a:ext uri="{FF2B5EF4-FFF2-40B4-BE49-F238E27FC236}">
                <a16:creationId xmlns:a16="http://schemas.microsoft.com/office/drawing/2014/main" xmlns="" id="{31B09C0B-7F64-8F44-8CC1-EBC8FA957C77}"/>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3545" r="12906"/>
          <a:stretch/>
        </p:blipFill>
        <p:spPr bwMode="auto">
          <a:xfrm>
            <a:off x="447769" y="372693"/>
            <a:ext cx="1296000" cy="1115550"/>
          </a:xfrm>
          <a:custGeom>
            <a:avLst/>
            <a:gdLst/>
            <a:ahLst/>
            <a:cxnLst/>
            <a:rect l="l" t="t" r="r" b="b"/>
            <a:pathLst>
              <a:path w="7023646" h="3401568">
                <a:moveTo>
                  <a:pt x="749132" y="0"/>
                </a:moveTo>
                <a:lnTo>
                  <a:pt x="7023646" y="0"/>
                </a:lnTo>
                <a:lnTo>
                  <a:pt x="7023646" y="3401568"/>
                </a:lnTo>
                <a:lnTo>
                  <a:pt x="0" y="3401568"/>
                </a:lnTo>
                <a:lnTo>
                  <a:pt x="79008" y="3238906"/>
                </a:lnTo>
                <a:cubicBezTo>
                  <a:pt x="502362" y="2321466"/>
                  <a:pt x="749563" y="1215476"/>
                  <a:pt x="749563" y="24956"/>
                </a:cubicBezTo>
                <a:close/>
              </a:path>
            </a:pathLst>
          </a:custGeom>
        </p:spPr>
      </p:pic>
      <p:pic>
        <p:nvPicPr>
          <p:cNvPr id="13" name="Picture 2" descr="G:\back up 4-12\back up 4-09\emp\EREYNHTIKA\GOUDI - ILISIA YME\A FASI.jpg">
            <a:extLst>
              <a:ext uri="{FF2B5EF4-FFF2-40B4-BE49-F238E27FC236}">
                <a16:creationId xmlns:a16="http://schemas.microsoft.com/office/drawing/2014/main" xmlns="" id="{481C77BD-AB88-A241-9239-96843D34A0E8}"/>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0135" t="-1963" r="11997" b="1963"/>
          <a:stretch/>
        </p:blipFill>
        <p:spPr bwMode="auto">
          <a:xfrm>
            <a:off x="2939964" y="306136"/>
            <a:ext cx="1800000" cy="1300075"/>
          </a:xfrm>
          <a:custGeom>
            <a:avLst/>
            <a:gdLst/>
            <a:ahLst/>
            <a:cxnLst/>
            <a:rect l="l" t="t" r="r" b="b"/>
            <a:pathLst>
              <a:path w="8949307" h="6858000">
                <a:moveTo>
                  <a:pt x="0" y="0"/>
                </a:moveTo>
                <a:lnTo>
                  <a:pt x="8949307" y="0"/>
                </a:lnTo>
                <a:lnTo>
                  <a:pt x="8949307" y="6858000"/>
                </a:lnTo>
                <a:lnTo>
                  <a:pt x="0" y="6858000"/>
                </a:lnTo>
                <a:lnTo>
                  <a:pt x="62983" y="6788730"/>
                </a:lnTo>
                <a:cubicBezTo>
                  <a:pt x="773509" y="5928900"/>
                  <a:pt x="1212979" y="4741056"/>
                  <a:pt x="1212979" y="3429000"/>
                </a:cubicBezTo>
                <a:cubicBezTo>
                  <a:pt x="1212979" y="2116944"/>
                  <a:pt x="773509" y="929100"/>
                  <a:pt x="62983" y="69271"/>
                </a:cubicBezTo>
                <a:close/>
              </a:path>
            </a:pathLst>
          </a:custGeom>
          <a:noFill/>
          <a:effectLst>
            <a:outerShdw blurRad="50800" dist="1524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a:extLst>
              <a:ext uri="{FF2B5EF4-FFF2-40B4-BE49-F238E27FC236}">
                <a16:creationId xmlns:a16="http://schemas.microsoft.com/office/drawing/2014/main" xmlns="" id="{F8BECC35-5F28-F84C-8A95-1254097E9E7B}"/>
              </a:ext>
            </a:extLst>
          </p:cNvPr>
          <p:cNvPicPr>
            <a:picLocks noChangeAspect="1" noChangeArrowheads="1"/>
          </p:cNvPicPr>
          <p:nvPr userDrawn="1"/>
        </p:nvPicPr>
        <p:blipFill rotWithShape="1">
          <a:blip r:embed="rId7" cstate="print"/>
          <a:srcRect l="14396" r="13951" b="1"/>
          <a:stretch/>
        </p:blipFill>
        <p:spPr bwMode="auto">
          <a:xfrm>
            <a:off x="9434560" y="1410621"/>
            <a:ext cx="2509793" cy="2330861"/>
          </a:xfrm>
          <a:custGeom>
            <a:avLst/>
            <a:gdLst/>
            <a:ahLst/>
            <a:cxnLst/>
            <a:rect l="l" t="t" r="r" b="b"/>
            <a:pathLst>
              <a:path w="3662680" h="3401568">
                <a:moveTo>
                  <a:pt x="0" y="0"/>
                </a:moveTo>
                <a:lnTo>
                  <a:pt x="3662680" y="0"/>
                </a:lnTo>
                <a:lnTo>
                  <a:pt x="3662680" y="3401568"/>
                </a:lnTo>
                <a:lnTo>
                  <a:pt x="774527" y="3401568"/>
                </a:lnTo>
                <a:lnTo>
                  <a:pt x="769892" y="3133175"/>
                </a:lnTo>
                <a:cubicBezTo>
                  <a:pt x="732577" y="2055441"/>
                  <a:pt x="492520" y="1056020"/>
                  <a:pt x="104445" y="215033"/>
                </a:cubicBezTo>
                <a:close/>
              </a:path>
            </a:pathLst>
          </a:custGeom>
        </p:spPr>
      </p:pic>
      <p:pic>
        <p:nvPicPr>
          <p:cNvPr id="15" name="Picture 6">
            <a:extLst>
              <a:ext uri="{FF2B5EF4-FFF2-40B4-BE49-F238E27FC236}">
                <a16:creationId xmlns:a16="http://schemas.microsoft.com/office/drawing/2014/main" xmlns="" id="{051E98B2-0CAC-9F45-B072-650437B3A49B}"/>
              </a:ext>
            </a:extLst>
          </p:cNvPr>
          <p:cNvPicPr>
            <a:picLocks noChangeAspect="1" noChangeArrowheads="1"/>
          </p:cNvPicPr>
          <p:nvPr userDrawn="1"/>
        </p:nvPicPr>
        <p:blipFill rotWithShape="1">
          <a:blip r:embed="rId8" cstate="print"/>
          <a:srcRect l="8232" r="13228" b="1"/>
          <a:stretch/>
        </p:blipFill>
        <p:spPr bwMode="auto">
          <a:xfrm>
            <a:off x="6893961" y="1429554"/>
            <a:ext cx="2970232" cy="2330861"/>
          </a:xfrm>
          <a:custGeom>
            <a:avLst/>
            <a:gdLst/>
            <a:ahLst/>
            <a:cxnLst/>
            <a:rect l="l" t="t" r="r" b="b"/>
            <a:pathLst>
              <a:path w="4118110" h="3401568">
                <a:moveTo>
                  <a:pt x="0" y="0"/>
                </a:moveTo>
                <a:lnTo>
                  <a:pt x="3343575" y="0"/>
                </a:lnTo>
                <a:lnTo>
                  <a:pt x="3448028" y="215050"/>
                </a:lnTo>
                <a:cubicBezTo>
                  <a:pt x="3836103" y="1056037"/>
                  <a:pt x="4076161" y="2055458"/>
                  <a:pt x="4113475" y="3133192"/>
                </a:cubicBezTo>
                <a:lnTo>
                  <a:pt x="4118110" y="3401568"/>
                </a:lnTo>
                <a:lnTo>
                  <a:pt x="801224" y="3401568"/>
                </a:lnTo>
                <a:lnTo>
                  <a:pt x="797493" y="3185579"/>
                </a:lnTo>
                <a:cubicBezTo>
                  <a:pt x="756786" y="2009870"/>
                  <a:pt x="474799" y="927359"/>
                  <a:pt x="22579" y="42066"/>
                </a:cubicBezTo>
                <a:close/>
              </a:path>
            </a:pathLst>
          </a:custGeom>
        </p:spPr>
      </p:pic>
      <p:pic>
        <p:nvPicPr>
          <p:cNvPr id="16" name="Picture 5">
            <a:extLst>
              <a:ext uri="{FF2B5EF4-FFF2-40B4-BE49-F238E27FC236}">
                <a16:creationId xmlns:a16="http://schemas.microsoft.com/office/drawing/2014/main" xmlns="" id="{0D5D3E9C-EB74-ED45-BC89-FB2EC3F10F5C}"/>
              </a:ext>
            </a:extLst>
          </p:cNvPr>
          <p:cNvPicPr>
            <a:picLocks noChangeAspect="1" noChangeArrowheads="1"/>
          </p:cNvPicPr>
          <p:nvPr userDrawn="1"/>
        </p:nvPicPr>
        <p:blipFill rotWithShape="1">
          <a:blip r:embed="rId9" cstate="print"/>
          <a:srcRect r="-2" b="27221"/>
          <a:stretch/>
        </p:blipFill>
        <p:spPr bwMode="auto">
          <a:xfrm>
            <a:off x="6972170" y="3881841"/>
            <a:ext cx="5010280" cy="2330871"/>
          </a:xfrm>
          <a:custGeom>
            <a:avLst/>
            <a:gdLst/>
            <a:ahLst/>
            <a:cxnLst/>
            <a:rect l="l" t="t" r="r" b="b"/>
            <a:pathLst>
              <a:path w="7023646" h="3401568">
                <a:moveTo>
                  <a:pt x="749132" y="0"/>
                </a:moveTo>
                <a:lnTo>
                  <a:pt x="7023646" y="0"/>
                </a:lnTo>
                <a:lnTo>
                  <a:pt x="7023646" y="3401568"/>
                </a:lnTo>
                <a:lnTo>
                  <a:pt x="0" y="3401568"/>
                </a:lnTo>
                <a:lnTo>
                  <a:pt x="79008" y="3238906"/>
                </a:lnTo>
                <a:cubicBezTo>
                  <a:pt x="502362" y="2321466"/>
                  <a:pt x="749563" y="1215476"/>
                  <a:pt x="749563" y="24956"/>
                </a:cubicBezTo>
                <a:close/>
              </a:path>
            </a:pathLst>
          </a:custGeom>
        </p:spPr>
      </p:pic>
      <p:cxnSp>
        <p:nvCxnSpPr>
          <p:cNvPr id="19" name="Straight Connector 3">
            <a:extLst>
              <a:ext uri="{FF2B5EF4-FFF2-40B4-BE49-F238E27FC236}">
                <a16:creationId xmlns:a16="http://schemas.microsoft.com/office/drawing/2014/main" xmlns="" id="{1A7A6EF8-6F90-A140-A77E-2C6E8956DF39}"/>
              </a:ext>
            </a:extLst>
          </p:cNvPr>
          <p:cNvCxnSpPr>
            <a:cxnSpLocks/>
          </p:cNvCxnSpPr>
          <p:nvPr userDrawn="1"/>
        </p:nvCxnSpPr>
        <p:spPr>
          <a:xfrm>
            <a:off x="220618" y="357159"/>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20" name="Straight Connector 3">
            <a:extLst>
              <a:ext uri="{FF2B5EF4-FFF2-40B4-BE49-F238E27FC236}">
                <a16:creationId xmlns:a16="http://schemas.microsoft.com/office/drawing/2014/main" xmlns="" id="{A5E9ADC4-8416-F14D-9D2F-EAD7F39605B6}"/>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1186765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itle Slide">
    <p:bg>
      <p:bgPr>
        <a:gradFill>
          <a:gsLst>
            <a:gs pos="79000">
              <a:schemeClr val="accent6"/>
            </a:gs>
            <a:gs pos="39000">
              <a:schemeClr val="accent1">
                <a:lumMod val="75000"/>
              </a:schemeClr>
            </a:gs>
            <a:gs pos="100000">
              <a:schemeClr val="bg1"/>
            </a:gs>
          </a:gsLst>
          <a:lin ang="2700000" scaled="1"/>
        </a:gra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xmlns="" id="{8AFD5A6A-9940-C444-A0BB-F0FD73E0285B}"/>
              </a:ext>
            </a:extLst>
          </p:cNvPr>
          <p:cNvSpPr>
            <a:spLocks noGrp="1"/>
          </p:cNvSpPr>
          <p:nvPr>
            <p:ph type="sldNum" sz="quarter" idx="10"/>
          </p:nvPr>
        </p:nvSpPr>
        <p:spPr>
          <a:xfrm>
            <a:off x="9239251" y="6502126"/>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3" name="Picture 4">
            <a:extLst>
              <a:ext uri="{FF2B5EF4-FFF2-40B4-BE49-F238E27FC236}">
                <a16:creationId xmlns:a16="http://schemas.microsoft.com/office/drawing/2014/main" xmlns="" id="{2AB8542B-8D08-B941-BF82-7983773B20E5}"/>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4764"/>
          <a:stretch/>
        </p:blipFill>
        <p:spPr bwMode="auto">
          <a:xfrm>
            <a:off x="5055588" y="1550638"/>
            <a:ext cx="6847323" cy="3756725"/>
          </a:xfrm>
          <a:prstGeom prst="rect">
            <a:avLst/>
          </a:prstGeom>
          <a:noFill/>
          <a:extLst>
            <a:ext uri="{909E8E84-426E-40DD-AFC4-6F175D3DCCD1}">
              <a14:hiddenFill xmlns:a14="http://schemas.microsoft.com/office/drawing/2010/main">
                <a:solidFill>
                  <a:srgbClr val="FFFFFF"/>
                </a:solidFill>
              </a14:hiddenFill>
            </a:ext>
          </a:extLst>
        </p:spPr>
      </p:pic>
      <p:sp>
        <p:nvSpPr>
          <p:cNvPr id="7" name="Τίτλος 1">
            <a:extLst>
              <a:ext uri="{FF2B5EF4-FFF2-40B4-BE49-F238E27FC236}">
                <a16:creationId xmlns:a16="http://schemas.microsoft.com/office/drawing/2014/main" xmlns="" id="{1C886F5C-E844-1A41-B3ED-6EBDBAF18AE5}"/>
              </a:ext>
            </a:extLst>
          </p:cNvPr>
          <p:cNvSpPr>
            <a:spLocks noGrp="1"/>
          </p:cNvSpPr>
          <p:nvPr>
            <p:ph type="ctrTitle"/>
          </p:nvPr>
        </p:nvSpPr>
        <p:spPr>
          <a:xfrm>
            <a:off x="229643" y="632033"/>
            <a:ext cx="4797881" cy="2387600"/>
          </a:xfrm>
        </p:spPr>
        <p:txBody>
          <a:bodyPr anchor="b">
            <a:normAutofit/>
          </a:bodyPr>
          <a:lstStyle>
            <a:lvl1pPr algn="l">
              <a:defRPr lang="el-GR" sz="9600" b="1" kern="1200" dirty="0">
                <a:solidFill>
                  <a:srgbClr val="FFC000"/>
                </a:solidFill>
                <a:latin typeface="Verdana" panose="020B0604030504040204" pitchFamily="34" charset="0"/>
                <a:ea typeface="Verdana" panose="020B0604030504040204" pitchFamily="34" charset="0"/>
                <a:cs typeface="Verdana" panose="020B0604030504040204" pitchFamily="34" charset="0"/>
              </a:defRPr>
            </a:lvl1pPr>
          </a:lstStyle>
          <a:p>
            <a:endParaRPr lang="el-GR" dirty="0"/>
          </a:p>
        </p:txBody>
      </p:sp>
      <p:sp>
        <p:nvSpPr>
          <p:cNvPr id="9" name="Υπότιτλος 2">
            <a:extLst>
              <a:ext uri="{FF2B5EF4-FFF2-40B4-BE49-F238E27FC236}">
                <a16:creationId xmlns:a16="http://schemas.microsoft.com/office/drawing/2014/main" xmlns="" id="{3265ACCB-EB59-614B-83D7-FA5FCF2D8663}"/>
              </a:ext>
            </a:extLst>
          </p:cNvPr>
          <p:cNvSpPr>
            <a:spLocks noGrp="1"/>
          </p:cNvSpPr>
          <p:nvPr>
            <p:ph type="subTitle" idx="1"/>
          </p:nvPr>
        </p:nvSpPr>
        <p:spPr>
          <a:xfrm>
            <a:off x="229644" y="3602038"/>
            <a:ext cx="4697956" cy="2316162"/>
          </a:xfrm>
        </p:spPr>
        <p:txBody>
          <a:bodyPr anchor="b">
            <a:noAutofit/>
          </a:bodyPr>
          <a:lstStyle>
            <a:lvl1pPr marL="0" indent="0" algn="l">
              <a:lnSpc>
                <a:spcPct val="100000"/>
              </a:lnSpc>
              <a:buNone/>
              <a:defRPr sz="4000">
                <a:solidFill>
                  <a:schemeClr val="bg1">
                    <a:lumMod val="6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l-GR" dirty="0"/>
          </a:p>
        </p:txBody>
      </p:sp>
      <p:cxnSp>
        <p:nvCxnSpPr>
          <p:cNvPr id="10" name="Ευθεία γραμμή σύνδεσης 9">
            <a:extLst>
              <a:ext uri="{FF2B5EF4-FFF2-40B4-BE49-F238E27FC236}">
                <a16:creationId xmlns:a16="http://schemas.microsoft.com/office/drawing/2014/main" xmlns="" id="{FDA33B13-04F7-E040-9B3E-62553798B2C0}"/>
              </a:ext>
            </a:extLst>
          </p:cNvPr>
          <p:cNvCxnSpPr/>
          <p:nvPr userDrawn="1"/>
        </p:nvCxnSpPr>
        <p:spPr>
          <a:xfrm>
            <a:off x="4927600" y="723900"/>
            <a:ext cx="0" cy="51943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8069129"/>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43227" y="1398896"/>
            <a:ext cx="7701126" cy="4615509"/>
          </a:xfrm>
        </p:spPr>
        <p:txBody>
          <a:bodyPr>
            <a:normAutofit/>
          </a:bodyPr>
          <a:lstStyle>
            <a:lvl1pPr marL="245527" indent="-245527" algn="just" defTabSz="914400" rtl="0" eaLnBrk="1" latinLnBrk="0" hangingPunct="1">
              <a:lnSpc>
                <a:spcPct val="100000"/>
              </a:lnSpc>
              <a:buClr>
                <a:srgbClr val="C00000"/>
              </a:buClr>
              <a:buFont typeface="Courier New" panose="02070309020205020404" pitchFamily="49" charset="0"/>
              <a:buChar char="o"/>
              <a:tabLst/>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defTabSz="914400" rtl="0" eaLnBrk="1" latinLnBrk="0" hangingPunct="1">
              <a:lnSpc>
                <a:spcPct val="100000"/>
              </a:lnSpc>
              <a:buClr>
                <a:srgbClr val="C00000"/>
              </a:buClr>
              <a:buFont typeface="Calibri" panose="020F0502020204030204" pitchFamily="34" charset="0"/>
              <a:buChar char="−"/>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defTabSz="914400" rtl="0" eaLnBrk="1" latinLnBrk="0" hangingPunct="1">
              <a:lnSpc>
                <a:spcPct val="100000"/>
              </a:lnSpc>
              <a:buClr>
                <a:srgbClr val="C00000"/>
              </a:buClr>
              <a:buFont typeface="Wingdings" panose="05000000000000000000" pitchFamily="2" charset="2"/>
              <a:buChar char="§"/>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defTabSz="914400" rtl="0" eaLnBrk="1" latinLnBrk="0" hangingPunct="1">
              <a:lnSpc>
                <a:spcPct val="100000"/>
              </a:lnSpc>
              <a:buClr>
                <a:srgbClr val="C00000"/>
              </a:buClr>
              <a:buFont typeface="Courier New" panose="02070309020205020404" pitchFamily="49" charset="0"/>
              <a:buChar char="o"/>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defTabSz="914400" rtl="0" eaLnBrk="1" latinLnBrk="0" hangingPunct="1">
              <a:lnSpc>
                <a:spcPct val="100000"/>
              </a:lnSpc>
              <a:buClr>
                <a:srgbClr val="C00000"/>
              </a:buClr>
              <a:buFont typeface="Courier New" panose="02070309020205020404" pitchFamily="49" charset="0"/>
              <a:buChar char="o"/>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220617" y="451110"/>
            <a:ext cx="1512000" cy="5477078"/>
          </a:xfrm>
          <a:solidFill>
            <a:schemeClr val="bg1">
              <a:lumMod val="50000"/>
            </a:schemeClr>
          </a:solidFill>
        </p:spPr>
        <p:txBody>
          <a:bodyPr vert="vert270">
            <a:normAutofit/>
          </a:bodyPr>
          <a:lstStyle>
            <a:lvl1pPr algn="l">
              <a:lnSpc>
                <a:spcPct val="100000"/>
              </a:lnSpc>
              <a:defRPr sz="200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cxnSp>
        <p:nvCxnSpPr>
          <p:cNvPr id="9" name="Straight Connector 3">
            <a:extLst>
              <a:ext uri="{FF2B5EF4-FFF2-40B4-BE49-F238E27FC236}">
                <a16:creationId xmlns:a16="http://schemas.microsoft.com/office/drawing/2014/main" xmlns="" id="{CB05C2E5-96B1-F749-85FC-2F14194A49CE}"/>
              </a:ext>
            </a:extLst>
          </p:cNvPr>
          <p:cNvCxnSpPr>
            <a:cxnSpLocks/>
          </p:cNvCxnSpPr>
          <p:nvPr userDrawn="1"/>
        </p:nvCxnSpPr>
        <p:spPr>
          <a:xfrm>
            <a:off x="220618" y="357159"/>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10" name="Straight Connector 3">
            <a:extLst>
              <a:ext uri="{FF2B5EF4-FFF2-40B4-BE49-F238E27FC236}">
                <a16:creationId xmlns:a16="http://schemas.microsoft.com/office/drawing/2014/main" xmlns="" id="{5F5A1069-F6B0-0C40-B6FC-40B02B575791}"/>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39844482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 name="Ορθογώνιο 1">
            <a:extLst>
              <a:ext uri="{FF2B5EF4-FFF2-40B4-BE49-F238E27FC236}">
                <a16:creationId xmlns:a16="http://schemas.microsoft.com/office/drawing/2014/main" xmlns="" id="{AA76AF0C-FD0B-3506-AD79-627878FEE504}"/>
              </a:ext>
            </a:extLst>
          </p:cNvPr>
          <p:cNvSpPr/>
          <p:nvPr userDrawn="1"/>
        </p:nvSpPr>
        <p:spPr>
          <a:xfrm>
            <a:off x="0" y="0"/>
            <a:ext cx="1876097" cy="6858000"/>
          </a:xfrm>
          <a:prstGeom prst="rect">
            <a:avLst/>
          </a:prstGeom>
          <a:gradFill>
            <a:gsLst>
              <a:gs pos="39000">
                <a:schemeClr val="accent1">
                  <a:lumMod val="75000"/>
                </a:schemeClr>
              </a:gs>
              <a:gs pos="79000">
                <a:schemeClr val="accent6"/>
              </a:gs>
              <a:gs pos="100000">
                <a:schemeClr val="bg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xmlns=""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xmlns="" id="{7563C78B-A32C-1321-F2ED-025536336068}"/>
              </a:ext>
            </a:extLst>
          </p:cNvPr>
          <p:cNvSpPr txBox="1"/>
          <p:nvPr userDrawn="1"/>
        </p:nvSpPr>
        <p:spPr>
          <a:xfrm>
            <a:off x="15766" y="1109604"/>
            <a:ext cx="1834155" cy="261610"/>
          </a:xfrm>
          <a:prstGeom prst="rect">
            <a:avLst/>
          </a:prstGeom>
          <a:noFill/>
        </p:spPr>
        <p:txBody>
          <a:bodyPr wrap="none" rtlCol="0">
            <a:spAutoFit/>
          </a:bodyPr>
          <a:lstStyle/>
          <a:p>
            <a:pPr algn="ctr"/>
            <a:r>
              <a:rPr lang="el-GR" sz="1100"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p:txBody>
      </p:sp>
      <p:sp>
        <p:nvSpPr>
          <p:cNvPr id="21" name="Title 1">
            <a:extLst>
              <a:ext uri="{FF2B5EF4-FFF2-40B4-BE49-F238E27FC236}">
                <a16:creationId xmlns:a16="http://schemas.microsoft.com/office/drawing/2014/main" xmlns="" id="{78AB1D91-04B5-DA00-3EDA-10C4F89E8457}"/>
              </a:ext>
            </a:extLst>
          </p:cNvPr>
          <p:cNvSpPr>
            <a:spLocks noGrp="1"/>
          </p:cNvSpPr>
          <p:nvPr>
            <p:ph type="title"/>
          </p:nvPr>
        </p:nvSpPr>
        <p:spPr>
          <a:xfrm>
            <a:off x="1849922" y="1"/>
            <a:ext cx="10326312" cy="914400"/>
          </a:xfrm>
          <a:noFill/>
          <a:ln>
            <a:noFill/>
          </a:ln>
        </p:spPr>
        <p:txBody>
          <a:bodyPr>
            <a:normAutofit/>
          </a:bodyPr>
          <a:lstStyle>
            <a:lvl1pPr algn="l">
              <a:lnSpc>
                <a:spcPct val="100000"/>
              </a:lnSpc>
              <a:defRPr sz="2000">
                <a:solidFill>
                  <a:srgbClr val="002060"/>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Tree>
    <p:extLst>
      <p:ext uri="{BB962C8B-B14F-4D97-AF65-F5344CB8AC3E}">
        <p14:creationId xmlns:p14="http://schemas.microsoft.com/office/powerpoint/2010/main" val="22306333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2" name="Ορθογώνιο 1">
            <a:extLst>
              <a:ext uri="{FF2B5EF4-FFF2-40B4-BE49-F238E27FC236}">
                <a16:creationId xmlns:a16="http://schemas.microsoft.com/office/drawing/2014/main" xmlns="" id="{AA76AF0C-FD0B-3506-AD79-627878FEE504}"/>
              </a:ext>
            </a:extLst>
          </p:cNvPr>
          <p:cNvSpPr/>
          <p:nvPr userDrawn="1"/>
        </p:nvSpPr>
        <p:spPr>
          <a:xfrm>
            <a:off x="0" y="0"/>
            <a:ext cx="1876097" cy="6858000"/>
          </a:xfrm>
          <a:prstGeom prst="rect">
            <a:avLst/>
          </a:prstGeom>
          <a:gradFill>
            <a:gsLst>
              <a:gs pos="39000">
                <a:schemeClr val="accent1">
                  <a:lumMod val="75000"/>
                </a:schemeClr>
              </a:gs>
              <a:gs pos="79000">
                <a:schemeClr val="accent6"/>
              </a:gs>
              <a:gs pos="100000">
                <a:schemeClr val="bg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xmlns=""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xmlns="" id="{7563C78B-A32C-1321-F2ED-025536336068}"/>
              </a:ext>
            </a:extLst>
          </p:cNvPr>
          <p:cNvSpPr txBox="1"/>
          <p:nvPr userDrawn="1"/>
        </p:nvSpPr>
        <p:spPr>
          <a:xfrm>
            <a:off x="15766" y="1109604"/>
            <a:ext cx="1834155" cy="261610"/>
          </a:xfrm>
          <a:prstGeom prst="rect">
            <a:avLst/>
          </a:prstGeom>
          <a:noFill/>
        </p:spPr>
        <p:txBody>
          <a:bodyPr wrap="none" rtlCol="0">
            <a:spAutoFit/>
          </a:bodyPr>
          <a:lstStyle/>
          <a:p>
            <a:pPr algn="ctr"/>
            <a:r>
              <a:rPr lang="el-GR" sz="1100"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p:txBody>
      </p:sp>
      <p:sp>
        <p:nvSpPr>
          <p:cNvPr id="21" name="Title 1">
            <a:extLst>
              <a:ext uri="{FF2B5EF4-FFF2-40B4-BE49-F238E27FC236}">
                <a16:creationId xmlns:a16="http://schemas.microsoft.com/office/drawing/2014/main" xmlns="" id="{78AB1D91-04B5-DA00-3EDA-10C4F89E8457}"/>
              </a:ext>
            </a:extLst>
          </p:cNvPr>
          <p:cNvSpPr>
            <a:spLocks noGrp="1"/>
          </p:cNvSpPr>
          <p:nvPr>
            <p:ph type="title"/>
          </p:nvPr>
        </p:nvSpPr>
        <p:spPr>
          <a:xfrm>
            <a:off x="1952090" y="71943"/>
            <a:ext cx="10224144" cy="672923"/>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cxnSp>
        <p:nvCxnSpPr>
          <p:cNvPr id="3" name="Straight Connector 3">
            <a:extLst>
              <a:ext uri="{FF2B5EF4-FFF2-40B4-BE49-F238E27FC236}">
                <a16:creationId xmlns:a16="http://schemas.microsoft.com/office/drawing/2014/main" xmlns="" id="{A42EE5EF-125E-D471-09A4-7FEF175208A5}"/>
              </a:ext>
            </a:extLst>
          </p:cNvPr>
          <p:cNvCxnSpPr>
            <a:cxnSpLocks/>
          </p:cNvCxnSpPr>
          <p:nvPr userDrawn="1"/>
        </p:nvCxnSpPr>
        <p:spPr>
          <a:xfrm>
            <a:off x="1952090" y="844839"/>
            <a:ext cx="10011311"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4" name="Straight Connector 3">
            <a:extLst>
              <a:ext uri="{FF2B5EF4-FFF2-40B4-BE49-F238E27FC236}">
                <a16:creationId xmlns:a16="http://schemas.microsoft.com/office/drawing/2014/main" xmlns="" id="{EB7D3B70-AE43-9791-3C95-AA4F0E6419BB}"/>
              </a:ext>
            </a:extLst>
          </p:cNvPr>
          <p:cNvCxnSpPr>
            <a:cxnSpLocks/>
          </p:cNvCxnSpPr>
          <p:nvPr userDrawn="1"/>
        </p:nvCxnSpPr>
        <p:spPr>
          <a:xfrm>
            <a:off x="1876097" y="6411019"/>
            <a:ext cx="10081493"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17071158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2" name="Ορθογώνιο 1">
            <a:extLst>
              <a:ext uri="{FF2B5EF4-FFF2-40B4-BE49-F238E27FC236}">
                <a16:creationId xmlns:a16="http://schemas.microsoft.com/office/drawing/2014/main" xmlns="" id="{AA76AF0C-FD0B-3506-AD79-627878FEE504}"/>
              </a:ext>
            </a:extLst>
          </p:cNvPr>
          <p:cNvSpPr/>
          <p:nvPr userDrawn="1"/>
        </p:nvSpPr>
        <p:spPr>
          <a:xfrm>
            <a:off x="0" y="0"/>
            <a:ext cx="1876097" cy="6858000"/>
          </a:xfrm>
          <a:prstGeom prst="rect">
            <a:avLst/>
          </a:prstGeom>
          <a:gradFill>
            <a:gsLst>
              <a:gs pos="39000">
                <a:schemeClr val="accent1">
                  <a:lumMod val="75000"/>
                </a:schemeClr>
              </a:gs>
              <a:gs pos="79000">
                <a:schemeClr val="accent6"/>
              </a:gs>
              <a:gs pos="100000">
                <a:schemeClr val="bg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xmlns=""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xmlns="" id="{7563C78B-A32C-1321-F2ED-025536336068}"/>
              </a:ext>
            </a:extLst>
          </p:cNvPr>
          <p:cNvSpPr txBox="1"/>
          <p:nvPr userDrawn="1"/>
        </p:nvSpPr>
        <p:spPr>
          <a:xfrm>
            <a:off x="15766" y="1109604"/>
            <a:ext cx="1834155" cy="261610"/>
          </a:xfrm>
          <a:prstGeom prst="rect">
            <a:avLst/>
          </a:prstGeom>
          <a:noFill/>
        </p:spPr>
        <p:txBody>
          <a:bodyPr wrap="none" rtlCol="0">
            <a:spAutoFit/>
          </a:bodyPr>
          <a:lstStyle/>
          <a:p>
            <a:pPr algn="ctr"/>
            <a:r>
              <a:rPr lang="el-GR" sz="1100"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p:txBody>
      </p:sp>
    </p:spTree>
    <p:extLst>
      <p:ext uri="{BB962C8B-B14F-4D97-AF65-F5344CB8AC3E}">
        <p14:creationId xmlns:p14="http://schemas.microsoft.com/office/powerpoint/2010/main" val="37930388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43227" y="1398896"/>
            <a:ext cx="7701126"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1833923" y="455382"/>
            <a:ext cx="10129478" cy="0"/>
          </a:xfrm>
          <a:prstGeom prst="line">
            <a:avLst/>
          </a:prstGeom>
          <a:noFill/>
          <a:ln w="57150" cap="flat" cmpd="sng" algn="ctr">
            <a:solidFill>
              <a:srgbClr val="FFC000"/>
            </a:solidFill>
            <a:prstDash val="solid"/>
          </a:ln>
          <a:effectLst/>
        </p:spPr>
      </p:cxn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cxnSp>
        <p:nvCxnSpPr>
          <p:cNvPr id="11" name="Straight Connector 3">
            <a:extLst>
              <a:ext uri="{FF2B5EF4-FFF2-40B4-BE49-F238E27FC236}">
                <a16:creationId xmlns:a16="http://schemas.microsoft.com/office/drawing/2014/main" xmlns="" id="{6CF2C8B3-7827-AD49-9D10-20340A91BDC3}"/>
              </a:ext>
            </a:extLst>
          </p:cNvPr>
          <p:cNvCxnSpPr>
            <a:cxnSpLocks/>
          </p:cNvCxnSpPr>
          <p:nvPr userDrawn="1"/>
        </p:nvCxnSpPr>
        <p:spPr>
          <a:xfrm>
            <a:off x="1833923" y="6411019"/>
            <a:ext cx="10123667" cy="0"/>
          </a:xfrm>
          <a:prstGeom prst="line">
            <a:avLst/>
          </a:prstGeom>
          <a:noFill/>
          <a:ln w="76200" cap="flat" cmpd="thickThin" algn="ctr">
            <a:solidFill>
              <a:srgbClr val="FFC000"/>
            </a:solidFill>
            <a:prstDash val="solid"/>
          </a:ln>
          <a:effectLst/>
        </p:spPr>
      </p:cxn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Tree>
    <p:extLst>
      <p:ext uri="{BB962C8B-B14F-4D97-AF65-F5344CB8AC3E}">
        <p14:creationId xmlns:p14="http://schemas.microsoft.com/office/powerpoint/2010/main" val="32172744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220618" y="1308135"/>
            <a:ext cx="11742783" cy="0"/>
          </a:xfrm>
          <a:prstGeom prst="line">
            <a:avLst/>
          </a:prstGeom>
          <a:noFill/>
          <a:ln w="57150" cap="flat" cmpd="sng" algn="ctr">
            <a:solidFill>
              <a:srgbClr val="FFC000"/>
            </a:solidFill>
            <a:prstDash val="solid"/>
          </a:ln>
          <a:effectLst/>
        </p:spPr>
      </p:cxnSp>
      <p:cxnSp>
        <p:nvCxnSpPr>
          <p:cNvPr id="11" name="Straight Connector 3">
            <a:extLst>
              <a:ext uri="{FF2B5EF4-FFF2-40B4-BE49-F238E27FC236}">
                <a16:creationId xmlns:a16="http://schemas.microsoft.com/office/drawing/2014/main" xmlns="" id="{6CF2C8B3-7827-AD49-9D10-20340A91BDC3}"/>
              </a:ext>
            </a:extLst>
          </p:cNvPr>
          <p:cNvCxnSpPr>
            <a:cxnSpLocks/>
          </p:cNvCxnSpPr>
          <p:nvPr userDrawn="1"/>
        </p:nvCxnSpPr>
        <p:spPr>
          <a:xfrm>
            <a:off x="1833923" y="6411019"/>
            <a:ext cx="10123667" cy="0"/>
          </a:xfrm>
          <a:prstGeom prst="line">
            <a:avLst/>
          </a:prstGeom>
          <a:noFill/>
          <a:ln w="76200" cap="flat" cmpd="thickThin" algn="ctr">
            <a:solidFill>
              <a:srgbClr val="FFC000"/>
            </a:solidFill>
            <a:prstDash val="solid"/>
          </a:ln>
          <a:effectLst/>
        </p:spPr>
      </p:cxn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
        <p:nvSpPr>
          <p:cNvPr id="12" name="Slide Number Placeholder 5">
            <a:extLst>
              <a:ext uri="{FF2B5EF4-FFF2-40B4-BE49-F238E27FC236}">
                <a16:creationId xmlns:a16="http://schemas.microsoft.com/office/drawing/2014/main" xmlns="" id="{AC8DA91A-A4CC-2B4D-A3B3-360C77FCC0D9}"/>
              </a:ext>
            </a:extLst>
          </p:cNvPr>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spTree>
    <p:extLst>
      <p:ext uri="{BB962C8B-B14F-4D97-AF65-F5344CB8AC3E}">
        <p14:creationId xmlns:p14="http://schemas.microsoft.com/office/powerpoint/2010/main" val="7526531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220618" y="435780"/>
            <a:ext cx="11742783" cy="0"/>
          </a:xfrm>
          <a:prstGeom prst="line">
            <a:avLst/>
          </a:prstGeom>
          <a:noFill/>
          <a:ln w="57150" cap="flat" cmpd="sng" algn="ctr">
            <a:solidFill>
              <a:srgbClr val="FFC000"/>
            </a:solidFill>
            <a:prstDash val="solid"/>
          </a:ln>
          <a:effectLst/>
        </p:spPr>
      </p:cxnSp>
      <p:cxnSp>
        <p:nvCxnSpPr>
          <p:cNvPr id="11" name="Straight Connector 3">
            <a:extLst>
              <a:ext uri="{FF2B5EF4-FFF2-40B4-BE49-F238E27FC236}">
                <a16:creationId xmlns:a16="http://schemas.microsoft.com/office/drawing/2014/main" xmlns="" id="{6CF2C8B3-7827-AD49-9D10-20340A91BDC3}"/>
              </a:ext>
            </a:extLst>
          </p:cNvPr>
          <p:cNvCxnSpPr>
            <a:cxnSpLocks/>
          </p:cNvCxnSpPr>
          <p:nvPr userDrawn="1"/>
        </p:nvCxnSpPr>
        <p:spPr>
          <a:xfrm>
            <a:off x="1833923" y="6411019"/>
            <a:ext cx="10123667" cy="0"/>
          </a:xfrm>
          <a:prstGeom prst="line">
            <a:avLst/>
          </a:prstGeom>
          <a:noFill/>
          <a:ln w="76200" cap="flat" cmpd="thickThin" algn="ctr">
            <a:solidFill>
              <a:srgbClr val="FFC000"/>
            </a:solidFill>
            <a:prstDash val="solid"/>
          </a:ln>
          <a:effectLst/>
        </p:spPr>
      </p:cxn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
        <p:nvSpPr>
          <p:cNvPr id="12" name="Slide Number Placeholder 5">
            <a:extLst>
              <a:ext uri="{FF2B5EF4-FFF2-40B4-BE49-F238E27FC236}">
                <a16:creationId xmlns:a16="http://schemas.microsoft.com/office/drawing/2014/main" xmlns="" id="{AC8DA91A-A4CC-2B4D-A3B3-360C77FCC0D9}"/>
              </a:ext>
            </a:extLst>
          </p:cNvPr>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spTree>
    <p:extLst>
      <p:ext uri="{BB962C8B-B14F-4D97-AF65-F5344CB8AC3E}">
        <p14:creationId xmlns:p14="http://schemas.microsoft.com/office/powerpoint/2010/main" val="42726992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928722"/>
            <a:ext cx="11723735" cy="5085684"/>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0618" y="116891"/>
            <a:ext cx="11723735" cy="639014"/>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cxnSp>
        <p:nvCxnSpPr>
          <p:cNvPr id="9" name="Straight Connector 3">
            <a:extLst>
              <a:ext uri="{FF2B5EF4-FFF2-40B4-BE49-F238E27FC236}">
                <a16:creationId xmlns:a16="http://schemas.microsoft.com/office/drawing/2014/main" xmlns="" id="{9FCE0830-C600-8E4F-A3CA-72298C2E04E9}"/>
              </a:ext>
            </a:extLst>
          </p:cNvPr>
          <p:cNvCxnSpPr>
            <a:cxnSpLocks/>
          </p:cNvCxnSpPr>
          <p:nvPr userDrawn="1"/>
        </p:nvCxnSpPr>
        <p:spPr>
          <a:xfrm>
            <a:off x="220618" y="844839"/>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10" name="Straight Connector 3">
            <a:extLst>
              <a:ext uri="{FF2B5EF4-FFF2-40B4-BE49-F238E27FC236}">
                <a16:creationId xmlns:a16="http://schemas.microsoft.com/office/drawing/2014/main" xmlns="" id="{A2D697A8-0CA1-CD4C-A4DA-040F435D7A50}"/>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29010525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xmlns=""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xmlns="" id="{7563C78B-A32C-1321-F2ED-025536336068}"/>
              </a:ext>
            </a:extLst>
          </p:cNvPr>
          <p:cNvSpPr txBox="1"/>
          <p:nvPr userDrawn="1"/>
        </p:nvSpPr>
        <p:spPr>
          <a:xfrm>
            <a:off x="15766" y="1109604"/>
            <a:ext cx="1834156" cy="430887"/>
          </a:xfrm>
          <a:prstGeom prst="rect">
            <a:avLst/>
          </a:prstGeom>
          <a:noFill/>
        </p:spPr>
        <p:txBody>
          <a:bodyPr wrap="none" rtlCol="0">
            <a:spAutoFit/>
          </a:bodyPr>
          <a:lstStyle/>
          <a:p>
            <a:pPr algn="ctr"/>
            <a:r>
              <a:rPr lang="el-GR" sz="11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a:p>
            <a:pPr algn="ctr"/>
            <a:r>
              <a:rPr lang="el-GR" sz="11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Κυβέρνηση</a:t>
            </a:r>
          </a:p>
        </p:txBody>
      </p:sp>
      <p:sp>
        <p:nvSpPr>
          <p:cNvPr id="21" name="Title 1">
            <a:extLst>
              <a:ext uri="{FF2B5EF4-FFF2-40B4-BE49-F238E27FC236}">
                <a16:creationId xmlns:a16="http://schemas.microsoft.com/office/drawing/2014/main" xmlns="" id="{78AB1D91-04B5-DA00-3EDA-10C4F89E8457}"/>
              </a:ext>
            </a:extLst>
          </p:cNvPr>
          <p:cNvSpPr>
            <a:spLocks noGrp="1"/>
          </p:cNvSpPr>
          <p:nvPr>
            <p:ph type="title"/>
          </p:nvPr>
        </p:nvSpPr>
        <p:spPr>
          <a:xfrm>
            <a:off x="2017986" y="116890"/>
            <a:ext cx="9926367" cy="1100485"/>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22" name="Content Placeholder 2">
            <a:extLst>
              <a:ext uri="{FF2B5EF4-FFF2-40B4-BE49-F238E27FC236}">
                <a16:creationId xmlns:a16="http://schemas.microsoft.com/office/drawing/2014/main" xmlns="" id="{681EA9CA-2FB3-CFD5-63CE-3D933CA1A51E}"/>
              </a:ext>
            </a:extLst>
          </p:cNvPr>
          <p:cNvSpPr>
            <a:spLocks noGrp="1"/>
          </p:cNvSpPr>
          <p:nvPr>
            <p:ph idx="1"/>
          </p:nvPr>
        </p:nvSpPr>
        <p:spPr>
          <a:xfrm>
            <a:off x="2017986" y="1398896"/>
            <a:ext cx="9926367" cy="4923076"/>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501141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470263" y="1365068"/>
            <a:ext cx="5486400" cy="5000898"/>
          </a:xfrm>
        </p:spPr>
        <p:txBody>
          <a:bodyPr/>
          <a:lstStyle>
            <a:lvl5pPr>
              <a:defRPr/>
            </a:lvl5pPr>
            <a:lvl6pPr>
              <a:defRPr/>
            </a:lvl6pPr>
            <a:lvl7pPr>
              <a:defRPr/>
            </a:lvl7pPr>
            <a:lvl8pPr>
              <a:defRPr/>
            </a:lvl8pPr>
            <a:lvl9pP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096000" y="1365068"/>
            <a:ext cx="5886990" cy="5000898"/>
          </a:xfrm>
        </p:spPr>
        <p:txBody>
          <a:bodyPr/>
          <a:lstStyle>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66BB870C-C4B6-458B-A3E5-F0AA2FA39ED1}" type="datetime1">
              <a:rPr lang="el-GR" smtClean="0"/>
              <a:t>18/1/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CBDE7437-0217-4B79-8D13-13296DD55B1B}" type="slidenum">
              <a:rPr lang="el-GR" smtClean="0"/>
              <a:t>‹#›</a:t>
            </a:fld>
            <a:endParaRPr lang="el-GR"/>
          </a:p>
        </p:txBody>
      </p:sp>
    </p:spTree>
    <p:extLst>
      <p:ext uri="{BB962C8B-B14F-4D97-AF65-F5344CB8AC3E}">
        <p14:creationId xmlns:p14="http://schemas.microsoft.com/office/powerpoint/2010/main" val="3019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0618" y="116890"/>
            <a:ext cx="11723735" cy="1100485"/>
          </a:xfrm>
          <a:solidFill>
            <a:schemeClr val="bg1">
              <a:lumMod val="50000"/>
            </a:schemeClr>
          </a:solidFill>
        </p:spPr>
        <p:txBody>
          <a:bodyPr>
            <a:normAutofit/>
          </a:bodyPr>
          <a:lstStyle>
            <a:lvl1pPr algn="l">
              <a:lnSpc>
                <a:spcPct val="100000"/>
              </a:lnSpc>
              <a:defRPr sz="200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cxnSp>
        <p:nvCxnSpPr>
          <p:cNvPr id="9" name="Straight Connector 3">
            <a:extLst>
              <a:ext uri="{FF2B5EF4-FFF2-40B4-BE49-F238E27FC236}">
                <a16:creationId xmlns:a16="http://schemas.microsoft.com/office/drawing/2014/main" xmlns="" id="{48A5DEB4-0EE9-7B44-935A-786F8C017368}"/>
              </a:ext>
            </a:extLst>
          </p:cNvPr>
          <p:cNvCxnSpPr>
            <a:cxnSpLocks/>
          </p:cNvCxnSpPr>
          <p:nvPr userDrawn="1"/>
        </p:nvCxnSpPr>
        <p:spPr>
          <a:xfrm>
            <a:off x="220618" y="1308135"/>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10" name="Straight Connector 3">
            <a:extLst>
              <a:ext uri="{FF2B5EF4-FFF2-40B4-BE49-F238E27FC236}">
                <a16:creationId xmlns:a16="http://schemas.microsoft.com/office/drawing/2014/main" xmlns="" id="{478409B9-6B2E-7A41-8737-F37A31ADB8DB}"/>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895385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pic>
        <p:nvPicPr>
          <p:cNvPr id="9" name="Εικόνα 8">
            <a:extLst>
              <a:ext uri="{FF2B5EF4-FFF2-40B4-BE49-F238E27FC236}">
                <a16:creationId xmlns:a16="http://schemas.microsoft.com/office/drawing/2014/main" xmlns="" id="{99390971-36F8-3049-8AEA-134B167ABC02}"/>
              </a:ext>
            </a:extLst>
          </p:cNvPr>
          <p:cNvPicPr>
            <a:picLocks noChangeAspect="1"/>
          </p:cNvPicPr>
          <p:nvPr userDrawn="1"/>
        </p:nvPicPr>
        <p:blipFill>
          <a:blip r:embed="rId3">
            <a:extLst>
              <a:ext uri="{28A0092B-C50C-407E-A947-70E740481C1C}">
                <a14:useLocalDpi xmlns:a14="http://schemas.microsoft.com/office/drawing/2010/main" val="0"/>
              </a:ext>
            </a:extLst>
          </a:blip>
          <a:srcRect l="20319" r="20319"/>
          <a:stretch/>
        </p:blipFill>
        <p:spPr>
          <a:xfrm>
            <a:off x="7736159" y="254724"/>
            <a:ext cx="1404000" cy="1351487"/>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pic>
        <p:nvPicPr>
          <p:cNvPr id="10" name="Εικόνα 9" descr="Εικόνα που περιέχει άτομο, υπαίθριος, έδαφος, μικρός&#10;&#10;Περιγραφή που δημιουργήθηκε αυτόματα">
            <a:extLst>
              <a:ext uri="{FF2B5EF4-FFF2-40B4-BE49-F238E27FC236}">
                <a16:creationId xmlns:a16="http://schemas.microsoft.com/office/drawing/2014/main" xmlns="" id="{BAE914F5-348E-3345-BD4C-A89793F4410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8600" r="-3" b="5929"/>
          <a:stretch/>
        </p:blipFill>
        <p:spPr>
          <a:xfrm>
            <a:off x="6261607" y="35"/>
            <a:ext cx="1080000" cy="923055"/>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2" name="Picture 5">
            <a:extLst>
              <a:ext uri="{FF2B5EF4-FFF2-40B4-BE49-F238E27FC236}">
                <a16:creationId xmlns:a16="http://schemas.microsoft.com/office/drawing/2014/main" xmlns="" id="{31B09C0B-7F64-8F44-8CC1-EBC8FA957C77}"/>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3545" r="12906"/>
          <a:stretch/>
        </p:blipFill>
        <p:spPr bwMode="auto">
          <a:xfrm>
            <a:off x="447769" y="372693"/>
            <a:ext cx="1296000" cy="1115550"/>
          </a:xfrm>
          <a:custGeom>
            <a:avLst/>
            <a:gdLst/>
            <a:ahLst/>
            <a:cxnLst/>
            <a:rect l="l" t="t" r="r" b="b"/>
            <a:pathLst>
              <a:path w="7023646" h="3401568">
                <a:moveTo>
                  <a:pt x="749132" y="0"/>
                </a:moveTo>
                <a:lnTo>
                  <a:pt x="7023646" y="0"/>
                </a:lnTo>
                <a:lnTo>
                  <a:pt x="7023646" y="3401568"/>
                </a:lnTo>
                <a:lnTo>
                  <a:pt x="0" y="3401568"/>
                </a:lnTo>
                <a:lnTo>
                  <a:pt x="79008" y="3238906"/>
                </a:lnTo>
                <a:cubicBezTo>
                  <a:pt x="502362" y="2321466"/>
                  <a:pt x="749563" y="1215476"/>
                  <a:pt x="749563" y="24956"/>
                </a:cubicBezTo>
                <a:close/>
              </a:path>
            </a:pathLst>
          </a:custGeom>
        </p:spPr>
      </p:pic>
      <p:pic>
        <p:nvPicPr>
          <p:cNvPr id="13" name="Picture 2" descr="G:\back up 4-12\back up 4-09\emp\EREYNHTIKA\GOUDI - ILISIA YME\A FASI.jpg">
            <a:extLst>
              <a:ext uri="{FF2B5EF4-FFF2-40B4-BE49-F238E27FC236}">
                <a16:creationId xmlns:a16="http://schemas.microsoft.com/office/drawing/2014/main" xmlns="" id="{481C77BD-AB88-A241-9239-96843D34A0E8}"/>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0135" t="-1963" r="11997" b="1963"/>
          <a:stretch/>
        </p:blipFill>
        <p:spPr bwMode="auto">
          <a:xfrm>
            <a:off x="2939964" y="306136"/>
            <a:ext cx="1800000" cy="1300075"/>
          </a:xfrm>
          <a:custGeom>
            <a:avLst/>
            <a:gdLst/>
            <a:ahLst/>
            <a:cxnLst/>
            <a:rect l="l" t="t" r="r" b="b"/>
            <a:pathLst>
              <a:path w="8949307" h="6858000">
                <a:moveTo>
                  <a:pt x="0" y="0"/>
                </a:moveTo>
                <a:lnTo>
                  <a:pt x="8949307" y="0"/>
                </a:lnTo>
                <a:lnTo>
                  <a:pt x="8949307" y="6858000"/>
                </a:lnTo>
                <a:lnTo>
                  <a:pt x="0" y="6858000"/>
                </a:lnTo>
                <a:lnTo>
                  <a:pt x="62983" y="6788730"/>
                </a:lnTo>
                <a:cubicBezTo>
                  <a:pt x="773509" y="5928900"/>
                  <a:pt x="1212979" y="4741056"/>
                  <a:pt x="1212979" y="3429000"/>
                </a:cubicBezTo>
                <a:cubicBezTo>
                  <a:pt x="1212979" y="2116944"/>
                  <a:pt x="773509" y="929100"/>
                  <a:pt x="62983" y="69271"/>
                </a:cubicBezTo>
                <a:close/>
              </a:path>
            </a:pathLst>
          </a:custGeom>
          <a:noFill/>
          <a:effectLst>
            <a:outerShdw blurRad="50800" dist="1524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a:extLst>
              <a:ext uri="{FF2B5EF4-FFF2-40B4-BE49-F238E27FC236}">
                <a16:creationId xmlns:a16="http://schemas.microsoft.com/office/drawing/2014/main" xmlns="" id="{F8BECC35-5F28-F84C-8A95-1254097E9E7B}"/>
              </a:ext>
            </a:extLst>
          </p:cNvPr>
          <p:cNvPicPr>
            <a:picLocks noChangeAspect="1" noChangeArrowheads="1"/>
          </p:cNvPicPr>
          <p:nvPr userDrawn="1"/>
        </p:nvPicPr>
        <p:blipFill rotWithShape="1">
          <a:blip r:embed="rId7" cstate="print"/>
          <a:srcRect l="14396" r="13951" b="1"/>
          <a:stretch/>
        </p:blipFill>
        <p:spPr bwMode="auto">
          <a:xfrm>
            <a:off x="9434560" y="1410621"/>
            <a:ext cx="2509793" cy="2330861"/>
          </a:xfrm>
          <a:custGeom>
            <a:avLst/>
            <a:gdLst/>
            <a:ahLst/>
            <a:cxnLst/>
            <a:rect l="l" t="t" r="r" b="b"/>
            <a:pathLst>
              <a:path w="3662680" h="3401568">
                <a:moveTo>
                  <a:pt x="0" y="0"/>
                </a:moveTo>
                <a:lnTo>
                  <a:pt x="3662680" y="0"/>
                </a:lnTo>
                <a:lnTo>
                  <a:pt x="3662680" y="3401568"/>
                </a:lnTo>
                <a:lnTo>
                  <a:pt x="774527" y="3401568"/>
                </a:lnTo>
                <a:lnTo>
                  <a:pt x="769892" y="3133175"/>
                </a:lnTo>
                <a:cubicBezTo>
                  <a:pt x="732577" y="2055441"/>
                  <a:pt x="492520" y="1056020"/>
                  <a:pt x="104445" y="215033"/>
                </a:cubicBezTo>
                <a:close/>
              </a:path>
            </a:pathLst>
          </a:custGeom>
        </p:spPr>
      </p:pic>
      <p:pic>
        <p:nvPicPr>
          <p:cNvPr id="15" name="Picture 6">
            <a:extLst>
              <a:ext uri="{FF2B5EF4-FFF2-40B4-BE49-F238E27FC236}">
                <a16:creationId xmlns:a16="http://schemas.microsoft.com/office/drawing/2014/main" xmlns="" id="{051E98B2-0CAC-9F45-B072-650437B3A49B}"/>
              </a:ext>
            </a:extLst>
          </p:cNvPr>
          <p:cNvPicPr>
            <a:picLocks noChangeAspect="1" noChangeArrowheads="1"/>
          </p:cNvPicPr>
          <p:nvPr userDrawn="1"/>
        </p:nvPicPr>
        <p:blipFill rotWithShape="1">
          <a:blip r:embed="rId8" cstate="print"/>
          <a:srcRect l="8232" r="13228" b="1"/>
          <a:stretch/>
        </p:blipFill>
        <p:spPr bwMode="auto">
          <a:xfrm>
            <a:off x="6893961" y="1429554"/>
            <a:ext cx="2970232" cy="2330861"/>
          </a:xfrm>
          <a:custGeom>
            <a:avLst/>
            <a:gdLst/>
            <a:ahLst/>
            <a:cxnLst/>
            <a:rect l="l" t="t" r="r" b="b"/>
            <a:pathLst>
              <a:path w="4118110" h="3401568">
                <a:moveTo>
                  <a:pt x="0" y="0"/>
                </a:moveTo>
                <a:lnTo>
                  <a:pt x="3343575" y="0"/>
                </a:lnTo>
                <a:lnTo>
                  <a:pt x="3448028" y="215050"/>
                </a:lnTo>
                <a:cubicBezTo>
                  <a:pt x="3836103" y="1056037"/>
                  <a:pt x="4076161" y="2055458"/>
                  <a:pt x="4113475" y="3133192"/>
                </a:cubicBezTo>
                <a:lnTo>
                  <a:pt x="4118110" y="3401568"/>
                </a:lnTo>
                <a:lnTo>
                  <a:pt x="801224" y="3401568"/>
                </a:lnTo>
                <a:lnTo>
                  <a:pt x="797493" y="3185579"/>
                </a:lnTo>
                <a:cubicBezTo>
                  <a:pt x="756786" y="2009870"/>
                  <a:pt x="474799" y="927359"/>
                  <a:pt x="22579" y="42066"/>
                </a:cubicBezTo>
                <a:close/>
              </a:path>
            </a:pathLst>
          </a:custGeom>
        </p:spPr>
      </p:pic>
      <p:pic>
        <p:nvPicPr>
          <p:cNvPr id="16" name="Picture 5">
            <a:extLst>
              <a:ext uri="{FF2B5EF4-FFF2-40B4-BE49-F238E27FC236}">
                <a16:creationId xmlns:a16="http://schemas.microsoft.com/office/drawing/2014/main" xmlns="" id="{0D5D3E9C-EB74-ED45-BC89-FB2EC3F10F5C}"/>
              </a:ext>
            </a:extLst>
          </p:cNvPr>
          <p:cNvPicPr>
            <a:picLocks noChangeAspect="1" noChangeArrowheads="1"/>
          </p:cNvPicPr>
          <p:nvPr userDrawn="1"/>
        </p:nvPicPr>
        <p:blipFill rotWithShape="1">
          <a:blip r:embed="rId9" cstate="print"/>
          <a:srcRect r="-2" b="27221"/>
          <a:stretch/>
        </p:blipFill>
        <p:spPr bwMode="auto">
          <a:xfrm>
            <a:off x="6972170" y="3881841"/>
            <a:ext cx="5010280" cy="2330871"/>
          </a:xfrm>
          <a:custGeom>
            <a:avLst/>
            <a:gdLst/>
            <a:ahLst/>
            <a:cxnLst/>
            <a:rect l="l" t="t" r="r" b="b"/>
            <a:pathLst>
              <a:path w="7023646" h="3401568">
                <a:moveTo>
                  <a:pt x="749132" y="0"/>
                </a:moveTo>
                <a:lnTo>
                  <a:pt x="7023646" y="0"/>
                </a:lnTo>
                <a:lnTo>
                  <a:pt x="7023646" y="3401568"/>
                </a:lnTo>
                <a:lnTo>
                  <a:pt x="0" y="3401568"/>
                </a:lnTo>
                <a:lnTo>
                  <a:pt x="79008" y="3238906"/>
                </a:lnTo>
                <a:cubicBezTo>
                  <a:pt x="502362" y="2321466"/>
                  <a:pt x="749563" y="1215476"/>
                  <a:pt x="749563" y="24956"/>
                </a:cubicBezTo>
                <a:close/>
              </a:path>
            </a:pathLst>
          </a:custGeom>
        </p:spPr>
      </p:pic>
      <p:cxnSp>
        <p:nvCxnSpPr>
          <p:cNvPr id="19" name="Straight Connector 3">
            <a:extLst>
              <a:ext uri="{FF2B5EF4-FFF2-40B4-BE49-F238E27FC236}">
                <a16:creationId xmlns:a16="http://schemas.microsoft.com/office/drawing/2014/main" xmlns="" id="{1A7A6EF8-6F90-A140-A77E-2C6E8956DF39}"/>
              </a:ext>
            </a:extLst>
          </p:cNvPr>
          <p:cNvCxnSpPr>
            <a:cxnSpLocks/>
          </p:cNvCxnSpPr>
          <p:nvPr userDrawn="1"/>
        </p:nvCxnSpPr>
        <p:spPr>
          <a:xfrm>
            <a:off x="220618" y="357159"/>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20" name="Straight Connector 3">
            <a:extLst>
              <a:ext uri="{FF2B5EF4-FFF2-40B4-BE49-F238E27FC236}">
                <a16:creationId xmlns:a16="http://schemas.microsoft.com/office/drawing/2014/main" xmlns="" id="{A5E9ADC4-8416-F14D-9D2F-EAD7F39605B6}"/>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20641229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43227" y="1398896"/>
            <a:ext cx="7701126" cy="4615509"/>
          </a:xfrm>
        </p:spPr>
        <p:txBody>
          <a:bodyPr>
            <a:normAutofit/>
          </a:bodyPr>
          <a:lstStyle>
            <a:lvl1pPr marL="245527" indent="-245527" algn="just" defTabSz="914400" rtl="0" eaLnBrk="1" latinLnBrk="0" hangingPunct="1">
              <a:lnSpc>
                <a:spcPct val="100000"/>
              </a:lnSpc>
              <a:buClr>
                <a:srgbClr val="C00000"/>
              </a:buClr>
              <a:buFont typeface="Courier New" panose="02070309020205020404" pitchFamily="49" charset="0"/>
              <a:buChar char="o"/>
              <a:tabLst/>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defTabSz="914400" rtl="0" eaLnBrk="1" latinLnBrk="0" hangingPunct="1">
              <a:lnSpc>
                <a:spcPct val="100000"/>
              </a:lnSpc>
              <a:buClr>
                <a:srgbClr val="C00000"/>
              </a:buClr>
              <a:buFont typeface="Calibri" panose="020F0502020204030204" pitchFamily="34" charset="0"/>
              <a:buChar char="−"/>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defTabSz="914400" rtl="0" eaLnBrk="1" latinLnBrk="0" hangingPunct="1">
              <a:lnSpc>
                <a:spcPct val="100000"/>
              </a:lnSpc>
              <a:buClr>
                <a:srgbClr val="C00000"/>
              </a:buClr>
              <a:buFont typeface="Wingdings" panose="05000000000000000000" pitchFamily="2" charset="2"/>
              <a:buChar char="§"/>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defTabSz="914400" rtl="0" eaLnBrk="1" latinLnBrk="0" hangingPunct="1">
              <a:lnSpc>
                <a:spcPct val="100000"/>
              </a:lnSpc>
              <a:buClr>
                <a:srgbClr val="C00000"/>
              </a:buClr>
              <a:buFont typeface="Courier New" panose="02070309020205020404" pitchFamily="49" charset="0"/>
              <a:buChar char="o"/>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defTabSz="914400" rtl="0" eaLnBrk="1" latinLnBrk="0" hangingPunct="1">
              <a:lnSpc>
                <a:spcPct val="100000"/>
              </a:lnSpc>
              <a:buClr>
                <a:srgbClr val="C00000"/>
              </a:buClr>
              <a:buFont typeface="Courier New" panose="02070309020205020404" pitchFamily="49" charset="0"/>
              <a:buChar char="o"/>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220617" y="451110"/>
            <a:ext cx="1512000" cy="5477078"/>
          </a:xfrm>
          <a:solidFill>
            <a:schemeClr val="bg1">
              <a:lumMod val="50000"/>
            </a:schemeClr>
          </a:solidFill>
        </p:spPr>
        <p:txBody>
          <a:bodyPr vert="vert270">
            <a:normAutofit/>
          </a:bodyPr>
          <a:lstStyle>
            <a:lvl1pPr algn="l">
              <a:lnSpc>
                <a:spcPct val="100000"/>
              </a:lnSpc>
              <a:defRPr sz="200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cxnSp>
        <p:nvCxnSpPr>
          <p:cNvPr id="9" name="Straight Connector 3">
            <a:extLst>
              <a:ext uri="{FF2B5EF4-FFF2-40B4-BE49-F238E27FC236}">
                <a16:creationId xmlns:a16="http://schemas.microsoft.com/office/drawing/2014/main" xmlns="" id="{CB05C2E5-96B1-F749-85FC-2F14194A49CE}"/>
              </a:ext>
            </a:extLst>
          </p:cNvPr>
          <p:cNvCxnSpPr>
            <a:cxnSpLocks/>
          </p:cNvCxnSpPr>
          <p:nvPr userDrawn="1"/>
        </p:nvCxnSpPr>
        <p:spPr>
          <a:xfrm>
            <a:off x="220618" y="357159"/>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10" name="Straight Connector 3">
            <a:extLst>
              <a:ext uri="{FF2B5EF4-FFF2-40B4-BE49-F238E27FC236}">
                <a16:creationId xmlns:a16="http://schemas.microsoft.com/office/drawing/2014/main" xmlns="" id="{5F5A1069-F6B0-0C40-B6FC-40B02B575791}"/>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187886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43227" y="1398896"/>
            <a:ext cx="7701126"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1833923" y="455382"/>
            <a:ext cx="10129478" cy="0"/>
          </a:xfrm>
          <a:prstGeom prst="line">
            <a:avLst/>
          </a:prstGeom>
          <a:noFill/>
          <a:ln w="57150" cap="flat" cmpd="sng" algn="ctr">
            <a:solidFill>
              <a:srgbClr val="FFC000"/>
            </a:solidFill>
            <a:prstDash val="solid"/>
          </a:ln>
          <a:effectLst/>
        </p:spPr>
      </p:cxn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cxnSp>
        <p:nvCxnSpPr>
          <p:cNvPr id="11" name="Straight Connector 3">
            <a:extLst>
              <a:ext uri="{FF2B5EF4-FFF2-40B4-BE49-F238E27FC236}">
                <a16:creationId xmlns:a16="http://schemas.microsoft.com/office/drawing/2014/main" xmlns="" id="{6CF2C8B3-7827-AD49-9D10-20340A91BDC3}"/>
              </a:ext>
            </a:extLst>
          </p:cNvPr>
          <p:cNvCxnSpPr>
            <a:cxnSpLocks/>
          </p:cNvCxnSpPr>
          <p:nvPr userDrawn="1"/>
        </p:nvCxnSpPr>
        <p:spPr>
          <a:xfrm>
            <a:off x="1833923" y="6411019"/>
            <a:ext cx="10123667" cy="0"/>
          </a:xfrm>
          <a:prstGeom prst="line">
            <a:avLst/>
          </a:prstGeom>
          <a:noFill/>
          <a:ln w="76200" cap="flat" cmpd="thickThin" algn="ctr">
            <a:solidFill>
              <a:srgbClr val="FFC000"/>
            </a:solidFill>
            <a:prstDash val="solid"/>
          </a:ln>
          <a:effectLst/>
        </p:spPr>
      </p:cxn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Tree>
    <p:extLst>
      <p:ext uri="{BB962C8B-B14F-4D97-AF65-F5344CB8AC3E}">
        <p14:creationId xmlns:p14="http://schemas.microsoft.com/office/powerpoint/2010/main" val="8351071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220618" y="1308135"/>
            <a:ext cx="11742783" cy="0"/>
          </a:xfrm>
          <a:prstGeom prst="line">
            <a:avLst/>
          </a:prstGeom>
          <a:noFill/>
          <a:ln w="57150" cap="flat" cmpd="sng" algn="ctr">
            <a:solidFill>
              <a:srgbClr val="FFC000"/>
            </a:solidFill>
            <a:prstDash val="solid"/>
          </a:ln>
          <a:effectLst/>
        </p:spPr>
      </p:cxnSp>
      <p:cxnSp>
        <p:nvCxnSpPr>
          <p:cNvPr id="11" name="Straight Connector 3">
            <a:extLst>
              <a:ext uri="{FF2B5EF4-FFF2-40B4-BE49-F238E27FC236}">
                <a16:creationId xmlns:a16="http://schemas.microsoft.com/office/drawing/2014/main" xmlns="" id="{6CF2C8B3-7827-AD49-9D10-20340A91BDC3}"/>
              </a:ext>
            </a:extLst>
          </p:cNvPr>
          <p:cNvCxnSpPr>
            <a:cxnSpLocks/>
          </p:cNvCxnSpPr>
          <p:nvPr userDrawn="1"/>
        </p:nvCxnSpPr>
        <p:spPr>
          <a:xfrm>
            <a:off x="1833923" y="6411019"/>
            <a:ext cx="10123667" cy="0"/>
          </a:xfrm>
          <a:prstGeom prst="line">
            <a:avLst/>
          </a:prstGeom>
          <a:noFill/>
          <a:ln w="76200" cap="flat" cmpd="thickThin" algn="ctr">
            <a:solidFill>
              <a:srgbClr val="FFC000"/>
            </a:solidFill>
            <a:prstDash val="solid"/>
          </a:ln>
          <a:effectLst/>
        </p:spPr>
      </p:cxn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
        <p:nvSpPr>
          <p:cNvPr id="12" name="Slide Number Placeholder 5">
            <a:extLst>
              <a:ext uri="{FF2B5EF4-FFF2-40B4-BE49-F238E27FC236}">
                <a16:creationId xmlns:a16="http://schemas.microsoft.com/office/drawing/2014/main" xmlns="" id="{AC8DA91A-A4CC-2B4D-A3B3-360C77FCC0D9}"/>
              </a:ext>
            </a:extLst>
          </p:cNvPr>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spTree>
    <p:extLst>
      <p:ext uri="{BB962C8B-B14F-4D97-AF65-F5344CB8AC3E}">
        <p14:creationId xmlns:p14="http://schemas.microsoft.com/office/powerpoint/2010/main" val="3814056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220618" y="435780"/>
            <a:ext cx="11742783" cy="0"/>
          </a:xfrm>
          <a:prstGeom prst="line">
            <a:avLst/>
          </a:prstGeom>
          <a:noFill/>
          <a:ln w="57150" cap="flat" cmpd="sng" algn="ctr">
            <a:solidFill>
              <a:srgbClr val="FFC000"/>
            </a:solidFill>
            <a:prstDash val="solid"/>
          </a:ln>
          <a:effectLst/>
        </p:spPr>
      </p:cxnSp>
      <p:cxnSp>
        <p:nvCxnSpPr>
          <p:cNvPr id="11" name="Straight Connector 3">
            <a:extLst>
              <a:ext uri="{FF2B5EF4-FFF2-40B4-BE49-F238E27FC236}">
                <a16:creationId xmlns:a16="http://schemas.microsoft.com/office/drawing/2014/main" xmlns="" id="{6CF2C8B3-7827-AD49-9D10-20340A91BDC3}"/>
              </a:ext>
            </a:extLst>
          </p:cNvPr>
          <p:cNvCxnSpPr>
            <a:cxnSpLocks/>
          </p:cNvCxnSpPr>
          <p:nvPr userDrawn="1"/>
        </p:nvCxnSpPr>
        <p:spPr>
          <a:xfrm>
            <a:off x="1833923" y="6411019"/>
            <a:ext cx="10123667" cy="0"/>
          </a:xfrm>
          <a:prstGeom prst="line">
            <a:avLst/>
          </a:prstGeom>
          <a:noFill/>
          <a:ln w="76200" cap="flat" cmpd="thickThin" algn="ctr">
            <a:solidFill>
              <a:srgbClr val="FFC000"/>
            </a:solidFill>
            <a:prstDash val="solid"/>
          </a:ln>
          <a:effectLst/>
        </p:spPr>
      </p:cxnSp>
      <p:pic>
        <p:nvPicPr>
          <p:cNvPr id="6" name="Εικόνα 5">
            <a:extLst>
              <a:ext uri="{FF2B5EF4-FFF2-40B4-BE49-F238E27FC236}">
                <a16:creationId xmlns:a16="http://schemas.microsoft.com/office/drawing/2014/main" xmlns=""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
        <p:nvSpPr>
          <p:cNvPr id="12" name="Slide Number Placeholder 5">
            <a:extLst>
              <a:ext uri="{FF2B5EF4-FFF2-40B4-BE49-F238E27FC236}">
                <a16:creationId xmlns:a16="http://schemas.microsoft.com/office/drawing/2014/main" xmlns="" id="{AC8DA91A-A4CC-2B4D-A3B3-360C77FCC0D9}"/>
              </a:ext>
            </a:extLst>
          </p:cNvPr>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spTree>
    <p:extLst>
      <p:ext uri="{BB962C8B-B14F-4D97-AF65-F5344CB8AC3E}">
        <p14:creationId xmlns:p14="http://schemas.microsoft.com/office/powerpoint/2010/main" val="9844949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6"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τίτλου 1">
            <a:extLst>
              <a:ext uri="{FF2B5EF4-FFF2-40B4-BE49-F238E27FC236}">
                <a16:creationId xmlns:a16="http://schemas.microsoft.com/office/drawing/2014/main" xmlns="" id="{0D7583B4-C523-DC41-84DA-1343AC9CDFF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xmlns="" id="{31C3B6D2-7BEC-C047-BEF1-BE1625C509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xmlns="" id="{4F387AA0-AE70-584E-B3CC-FAE42B93EF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l-GR"/>
          </a:p>
        </p:txBody>
      </p:sp>
      <p:sp>
        <p:nvSpPr>
          <p:cNvPr id="5" name="Θέση υποσέλιδου 4">
            <a:extLst>
              <a:ext uri="{FF2B5EF4-FFF2-40B4-BE49-F238E27FC236}">
                <a16:creationId xmlns:a16="http://schemas.microsoft.com/office/drawing/2014/main" xmlns="" id="{4C4ADA5D-CC9B-C647-B307-C72A6543DF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Θέση αριθμού διαφάνειας 5">
            <a:extLst>
              <a:ext uri="{FF2B5EF4-FFF2-40B4-BE49-F238E27FC236}">
                <a16:creationId xmlns:a16="http://schemas.microsoft.com/office/drawing/2014/main" xmlns="" id="{6DBC17E3-3F91-FF4C-AA9E-C8E03A6DCF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307B0BD-397C-0B40-AA82-4AB382166561}" type="slidenum">
              <a:rPr lang="el-GR" smtClean="0"/>
              <a:t>‹#›</a:t>
            </a:fld>
            <a:endParaRPr lang="el-GR"/>
          </a:p>
        </p:txBody>
      </p:sp>
    </p:spTree>
    <p:extLst>
      <p:ext uri="{BB962C8B-B14F-4D97-AF65-F5344CB8AC3E}">
        <p14:creationId xmlns:p14="http://schemas.microsoft.com/office/powerpoint/2010/main" val="2234116362"/>
      </p:ext>
    </p:extLst>
  </p:cSld>
  <p:clrMap bg1="lt1" tx1="dk1" bg2="lt2" tx2="dk2" accent1="accent1" accent2="accent2" accent3="accent3" accent4="accent4" accent5="accent5" accent6="accent6" hlink="hlink" folHlink="folHlink"/>
  <p:sldLayoutIdLst>
    <p:sldLayoutId id="2147483666" r:id="rId1"/>
    <p:sldLayoutId id="2147483671" r:id="rId2"/>
    <p:sldLayoutId id="2147483703" r:id="rId3"/>
    <p:sldLayoutId id="2147483702" r:id="rId4"/>
    <p:sldLayoutId id="2147483696" r:id="rId5"/>
    <p:sldLayoutId id="2147483698" r:id="rId6"/>
    <p:sldLayoutId id="2147483699" r:id="rId7"/>
    <p:sldLayoutId id="2147483710" r:id="rId8"/>
    <p:sldLayoutId id="2147483711" r:id="rId9"/>
    <p:sldLayoutId id="2147483729" r:id="rId10"/>
    <p:sldLayoutId id="2147483748" r:id="rId11"/>
    <p:sldLayoutId id="2147483749" r:id="rId12"/>
    <p:sldLayoutId id="2147483750" r:id="rId13"/>
    <p:sldLayoutId id="2147483755" r:id="rId14"/>
    <p:sldLayoutId id="2147483756" r:id="rId15"/>
    <p:sldLayoutId id="2147483758"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τίτλου 1">
            <a:extLst>
              <a:ext uri="{FF2B5EF4-FFF2-40B4-BE49-F238E27FC236}">
                <a16:creationId xmlns:a16="http://schemas.microsoft.com/office/drawing/2014/main" xmlns="" id="{0D7583B4-C523-DC41-84DA-1343AC9CDFF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xmlns="" id="{31C3B6D2-7BEC-C047-BEF1-BE1625C509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xmlns="" id="{4F387AA0-AE70-584E-B3CC-FAE42B93EF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l-GR"/>
          </a:p>
        </p:txBody>
      </p:sp>
      <p:sp>
        <p:nvSpPr>
          <p:cNvPr id="5" name="Θέση υποσέλιδου 4">
            <a:extLst>
              <a:ext uri="{FF2B5EF4-FFF2-40B4-BE49-F238E27FC236}">
                <a16:creationId xmlns:a16="http://schemas.microsoft.com/office/drawing/2014/main" xmlns="" id="{4C4ADA5D-CC9B-C647-B307-C72A6543DF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Θέση αριθμού διαφάνειας 5">
            <a:extLst>
              <a:ext uri="{FF2B5EF4-FFF2-40B4-BE49-F238E27FC236}">
                <a16:creationId xmlns:a16="http://schemas.microsoft.com/office/drawing/2014/main" xmlns="" id="{6DBC17E3-3F91-FF4C-AA9E-C8E03A6DCF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307B0BD-397C-0B40-AA82-4AB382166561}" type="slidenum">
              <a:rPr lang="el-GR" smtClean="0"/>
              <a:t>‹#›</a:t>
            </a:fld>
            <a:endParaRPr lang="el-GR"/>
          </a:p>
        </p:txBody>
      </p:sp>
    </p:spTree>
    <p:extLst>
      <p:ext uri="{BB962C8B-B14F-4D97-AF65-F5344CB8AC3E}">
        <p14:creationId xmlns:p14="http://schemas.microsoft.com/office/powerpoint/2010/main" val="1265119797"/>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52"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image" Target="../media/image81.emf"/><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image" Target="../media/image92.emf"/><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image" Target="../media/image94.emf"/><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jpg"/><Relationship Id="rId1" Type="http://schemas.openxmlformats.org/officeDocument/2006/relationships/slideLayout" Target="../slideLayouts/slideLayout2.xml"/><Relationship Id="rId4" Type="http://schemas.openxmlformats.org/officeDocument/2006/relationships/image" Target="../media/image100.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4386CA2-4423-4840-B3C0-95D47C8CDED1}"/>
              </a:ext>
            </a:extLst>
          </p:cNvPr>
          <p:cNvSpPr>
            <a:spLocks noGrp="1"/>
          </p:cNvSpPr>
          <p:nvPr>
            <p:ph type="ctrTitle"/>
          </p:nvPr>
        </p:nvSpPr>
        <p:spPr>
          <a:xfrm>
            <a:off x="7184570" y="1960562"/>
            <a:ext cx="4797881" cy="3396629"/>
          </a:xfrm>
        </p:spPr>
        <p:txBody>
          <a:bodyPr>
            <a:normAutofit/>
          </a:bodyPr>
          <a:lstStyle/>
          <a:p>
            <a:pPr>
              <a:lnSpc>
                <a:spcPct val="150000"/>
              </a:lnSpc>
            </a:pPr>
            <a:r>
              <a:rPr lang="el-GR" sz="4800" dirty="0">
                <a:latin typeface="Helvetica Neue" panose="02000503000000020004" pitchFamily="2" charset="0"/>
                <a:ea typeface="Helvetica Neue" panose="02000503000000020004" pitchFamily="2" charset="0"/>
                <a:cs typeface="Helvetica Neue" panose="02000503000000020004" pitchFamily="2" charset="0"/>
              </a:rPr>
              <a:t>ΝΕΟ ΕΣΕΚ</a:t>
            </a:r>
          </a:p>
        </p:txBody>
      </p:sp>
      <p:sp>
        <p:nvSpPr>
          <p:cNvPr id="3" name="Υπότιτλος 2">
            <a:extLst>
              <a:ext uri="{FF2B5EF4-FFF2-40B4-BE49-F238E27FC236}">
                <a16:creationId xmlns:a16="http://schemas.microsoft.com/office/drawing/2014/main" xmlns="" id="{B926FAA0-CC20-1C4E-8EF2-705CB61C100E}"/>
              </a:ext>
            </a:extLst>
          </p:cNvPr>
          <p:cNvSpPr>
            <a:spLocks noGrp="1"/>
          </p:cNvSpPr>
          <p:nvPr>
            <p:ph type="subTitle" idx="1"/>
          </p:nvPr>
        </p:nvSpPr>
        <p:spPr>
          <a:xfrm>
            <a:off x="7184570" y="5129696"/>
            <a:ext cx="4797881" cy="1017104"/>
          </a:xfrm>
        </p:spPr>
        <p:txBody>
          <a:bodyPr/>
          <a:lstStyle/>
          <a:p>
            <a:r>
              <a:rPr lang="el-GR" dirty="0" err="1"/>
              <a:t>Ιανου</a:t>
            </a:r>
            <a:r>
              <a:rPr lang="en-US" dirty="0" err="1"/>
              <a:t>ά</a:t>
            </a:r>
            <a:r>
              <a:rPr lang="el-GR" dirty="0" err="1"/>
              <a:t>ριος</a:t>
            </a:r>
            <a:r>
              <a:rPr lang="el-GR" dirty="0"/>
              <a:t> 202</a:t>
            </a:r>
            <a:r>
              <a:rPr lang="en-US" dirty="0"/>
              <a:t>3</a:t>
            </a:r>
            <a:endParaRPr lang="el-GR" dirty="0"/>
          </a:p>
        </p:txBody>
      </p:sp>
      <p:sp>
        <p:nvSpPr>
          <p:cNvPr id="4" name="Θέση αριθμού διαφάνειας 3">
            <a:extLst>
              <a:ext uri="{FF2B5EF4-FFF2-40B4-BE49-F238E27FC236}">
                <a16:creationId xmlns:a16="http://schemas.microsoft.com/office/drawing/2014/main" xmlns="" id="{5A24B243-38AF-FE42-AA63-B3421F482D45}"/>
              </a:ext>
            </a:extLst>
          </p:cNvPr>
          <p:cNvSpPr>
            <a:spLocks noGrp="1"/>
          </p:cNvSpPr>
          <p:nvPr>
            <p:ph type="sldNum" sz="quarter" idx="10"/>
          </p:nvPr>
        </p:nvSpPr>
        <p:spPr/>
        <p:txBody>
          <a:bodyPr/>
          <a:lstStyle/>
          <a:p>
            <a:pPr>
              <a:defRPr/>
            </a:pPr>
            <a:fld id="{CEEAD2AE-396D-4C5C-8389-DAC89B90429D}" type="slidenum">
              <a:rPr lang="en-US" smtClean="0"/>
              <a:pPr>
                <a:defRPr/>
              </a:pPr>
              <a:t>1</a:t>
            </a:fld>
            <a:endParaRPr lang="en-US"/>
          </a:p>
        </p:txBody>
      </p:sp>
      <p:pic>
        <p:nvPicPr>
          <p:cNvPr id="5" name="Εικόνα 4" descr="Εικόνα που περιέχει κείμενο&#10;&#10;Περιγραφή που δημιουργήθηκε αυτόματα">
            <a:extLst>
              <a:ext uri="{FF2B5EF4-FFF2-40B4-BE49-F238E27FC236}">
                <a16:creationId xmlns:a16="http://schemas.microsoft.com/office/drawing/2014/main" xmlns="" id="{00174F99-018E-CAF3-47C8-70DE93F383E9}"/>
              </a:ext>
            </a:extLst>
          </p:cNvPr>
          <p:cNvPicPr>
            <a:picLocks noChangeAspect="1"/>
          </p:cNvPicPr>
          <p:nvPr/>
        </p:nvPicPr>
        <p:blipFill>
          <a:blip r:embed="rId2"/>
          <a:stretch>
            <a:fillRect/>
          </a:stretch>
        </p:blipFill>
        <p:spPr>
          <a:xfrm>
            <a:off x="234783" y="123570"/>
            <a:ext cx="925389" cy="941294"/>
          </a:xfrm>
          <a:prstGeom prst="rect">
            <a:avLst/>
          </a:prstGeom>
        </p:spPr>
      </p:pic>
      <p:sp>
        <p:nvSpPr>
          <p:cNvPr id="6" name="TextBox 5">
            <a:extLst>
              <a:ext uri="{FF2B5EF4-FFF2-40B4-BE49-F238E27FC236}">
                <a16:creationId xmlns:a16="http://schemas.microsoft.com/office/drawing/2014/main" xmlns="" id="{E6D41592-39BA-6DDD-0580-C87112C8D7D0}"/>
              </a:ext>
            </a:extLst>
          </p:cNvPr>
          <p:cNvSpPr txBox="1"/>
          <p:nvPr/>
        </p:nvSpPr>
        <p:spPr>
          <a:xfrm>
            <a:off x="1260388" y="422224"/>
            <a:ext cx="2568332" cy="338554"/>
          </a:xfrm>
          <a:prstGeom prst="rect">
            <a:avLst/>
          </a:prstGeom>
          <a:noFill/>
        </p:spPr>
        <p:txBody>
          <a:bodyPr wrap="none" rtlCol="0">
            <a:spAutoFit/>
          </a:bodyPr>
          <a:lstStyle/>
          <a:p>
            <a:r>
              <a:rPr lang="el-GR" sz="1600"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p:txBody>
      </p:sp>
    </p:spTree>
    <p:extLst>
      <p:ext uri="{BB962C8B-B14F-4D97-AF65-F5344CB8AC3E}">
        <p14:creationId xmlns:p14="http://schemas.microsoft.com/office/powerpoint/2010/main" val="21626998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1610AC-8AF5-44DC-890F-A03CD5B5DDC1}"/>
              </a:ext>
            </a:extLst>
          </p:cNvPr>
          <p:cNvSpPr>
            <a:spLocks noGrp="1"/>
          </p:cNvSpPr>
          <p:nvPr>
            <p:ph type="title"/>
          </p:nvPr>
        </p:nvSpPr>
        <p:spPr/>
        <p:txBody>
          <a:bodyPr>
            <a:normAutofit/>
          </a:bodyPr>
          <a:lstStyle/>
          <a:p>
            <a:r>
              <a:rPr lang="el-GR" dirty="0"/>
              <a:t>Προϋπολογισμός εκπομπών Αερίων του Θερμοκηπίου (σωρευτικές εκπομπές)</a:t>
            </a:r>
            <a:endParaRPr lang="en-GB" dirty="0"/>
          </a:p>
        </p:txBody>
      </p:sp>
      <p:sp>
        <p:nvSpPr>
          <p:cNvPr id="4" name="Slide Number Placeholder 3">
            <a:extLst>
              <a:ext uri="{FF2B5EF4-FFF2-40B4-BE49-F238E27FC236}">
                <a16:creationId xmlns:a16="http://schemas.microsoft.com/office/drawing/2014/main" xmlns="" id="{A13DC809-BAD4-45AA-8D51-4BC69BF7EB2F}"/>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0</a:t>
            </a:fld>
            <a:endParaRPr lang="el-GR"/>
          </a:p>
        </p:txBody>
      </p:sp>
      <p:pic>
        <p:nvPicPr>
          <p:cNvPr id="6" name="Content Placeholder 5">
            <a:extLst>
              <a:ext uri="{FF2B5EF4-FFF2-40B4-BE49-F238E27FC236}">
                <a16:creationId xmlns:a16="http://schemas.microsoft.com/office/drawing/2014/main" xmlns="" id="{C4962F4C-42F8-D9FF-B692-F83BA0EE8E39}"/>
              </a:ext>
            </a:extLst>
          </p:cNvPr>
          <p:cNvPicPr>
            <a:picLocks/>
          </p:cNvPicPr>
          <p:nvPr/>
        </p:nvPicPr>
        <p:blipFill>
          <a:blip r:embed="rId2"/>
          <a:stretch>
            <a:fillRect/>
          </a:stretch>
        </p:blipFill>
        <p:spPr>
          <a:xfrm>
            <a:off x="228000" y="927000"/>
            <a:ext cx="11736000" cy="5004000"/>
          </a:xfrm>
          <a:prstGeom prst="rect">
            <a:avLst/>
          </a:prstGeom>
          <a:ln>
            <a:solidFill>
              <a:schemeClr val="bg2">
                <a:lumMod val="50000"/>
              </a:schemeClr>
            </a:solidFill>
          </a:ln>
        </p:spPr>
      </p:pic>
      <p:cxnSp>
        <p:nvCxnSpPr>
          <p:cNvPr id="8" name="Ευθεία γραμμή σύνδεσης 7">
            <a:extLst>
              <a:ext uri="{FF2B5EF4-FFF2-40B4-BE49-F238E27FC236}">
                <a16:creationId xmlns:a16="http://schemas.microsoft.com/office/drawing/2014/main" xmlns="" id="{DE0110C9-0E83-E318-5F7D-C5BB228593EF}"/>
              </a:ext>
            </a:extLst>
          </p:cNvPr>
          <p:cNvCxnSpPr/>
          <p:nvPr/>
        </p:nvCxnSpPr>
        <p:spPr>
          <a:xfrm>
            <a:off x="6443732" y="1274618"/>
            <a:ext cx="69079" cy="4697557"/>
          </a:xfrm>
          <a:prstGeom prst="line">
            <a:avLst/>
          </a:prstGeom>
          <a:ln w="571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7146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59F28B54-7CAB-44DD-B756-FB923A6C082B}"/>
              </a:ext>
            </a:extLst>
          </p:cNvPr>
          <p:cNvSpPr>
            <a:spLocks noGrp="1"/>
          </p:cNvSpPr>
          <p:nvPr>
            <p:ph type="title"/>
          </p:nvPr>
        </p:nvSpPr>
        <p:spPr/>
        <p:txBody>
          <a:bodyPr/>
          <a:lstStyle/>
          <a:p>
            <a:r>
              <a:rPr lang="el-GR" dirty="0"/>
              <a:t>ΕΣΕΚ Α/Β</a:t>
            </a:r>
          </a:p>
        </p:txBody>
      </p:sp>
      <p:sp>
        <p:nvSpPr>
          <p:cNvPr id="4" name="Slide Number Placeholder 3">
            <a:extLst>
              <a:ext uri="{FF2B5EF4-FFF2-40B4-BE49-F238E27FC236}">
                <a16:creationId xmlns:a16="http://schemas.microsoft.com/office/drawing/2014/main" xmlns="" id="{4620ACA4-6A66-4450-8C13-02ADB9C34CDE}"/>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1</a:t>
            </a:fld>
            <a:endParaRPr lang="el-GR"/>
          </a:p>
        </p:txBody>
      </p:sp>
      <p:pic>
        <p:nvPicPr>
          <p:cNvPr id="7" name="Picture 6">
            <a:extLst>
              <a:ext uri="{FF2B5EF4-FFF2-40B4-BE49-F238E27FC236}">
                <a16:creationId xmlns:a16="http://schemas.microsoft.com/office/drawing/2014/main" xmlns="" id="{E59087A9-422A-2ACC-A683-B6F0F4677FDF}"/>
              </a:ext>
            </a:extLst>
          </p:cNvPr>
          <p:cNvPicPr>
            <a:picLocks noChangeAspect="1"/>
          </p:cNvPicPr>
          <p:nvPr/>
        </p:nvPicPr>
        <p:blipFill>
          <a:blip r:embed="rId2"/>
          <a:stretch>
            <a:fillRect/>
          </a:stretch>
        </p:blipFill>
        <p:spPr>
          <a:xfrm>
            <a:off x="6047711" y="929538"/>
            <a:ext cx="5896642" cy="5004000"/>
          </a:xfrm>
          <a:prstGeom prst="rect">
            <a:avLst/>
          </a:prstGeom>
          <a:ln>
            <a:solidFill>
              <a:schemeClr val="bg2">
                <a:lumMod val="50000"/>
              </a:schemeClr>
            </a:solidFill>
          </a:ln>
        </p:spPr>
      </p:pic>
      <p:pic>
        <p:nvPicPr>
          <p:cNvPr id="9" name="Content Placeholder 7">
            <a:extLst>
              <a:ext uri="{FF2B5EF4-FFF2-40B4-BE49-F238E27FC236}">
                <a16:creationId xmlns:a16="http://schemas.microsoft.com/office/drawing/2014/main" xmlns="" id="{9FCCCAD2-1C70-490B-9E7F-2E136801E42D}"/>
              </a:ext>
            </a:extLst>
          </p:cNvPr>
          <p:cNvPicPr>
            <a:picLocks noChangeAspect="1"/>
          </p:cNvPicPr>
          <p:nvPr/>
        </p:nvPicPr>
        <p:blipFill>
          <a:blip r:embed="rId3"/>
          <a:stretch>
            <a:fillRect/>
          </a:stretch>
        </p:blipFill>
        <p:spPr>
          <a:xfrm>
            <a:off x="150870" y="929538"/>
            <a:ext cx="5773099" cy="5004000"/>
          </a:xfrm>
          <a:prstGeom prst="rect">
            <a:avLst/>
          </a:prstGeom>
          <a:ln>
            <a:solidFill>
              <a:schemeClr val="bg2">
                <a:lumMod val="50000"/>
              </a:schemeClr>
            </a:solidFill>
          </a:ln>
        </p:spPr>
      </p:pic>
    </p:spTree>
    <p:extLst>
      <p:ext uri="{BB962C8B-B14F-4D97-AF65-F5344CB8AC3E}">
        <p14:creationId xmlns:p14="http://schemas.microsoft.com/office/powerpoint/2010/main" val="2255631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57DF41F5-95E3-4929-930E-74101EF64124}"/>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2</a:t>
            </a:fld>
            <a:endParaRPr lang="el-GR"/>
          </a:p>
        </p:txBody>
      </p:sp>
      <p:sp>
        <p:nvSpPr>
          <p:cNvPr id="2" name="Title 1">
            <a:extLst>
              <a:ext uri="{FF2B5EF4-FFF2-40B4-BE49-F238E27FC236}">
                <a16:creationId xmlns:a16="http://schemas.microsoft.com/office/drawing/2014/main" xmlns="" id="{DD35D4A8-7BC3-4F75-9E97-1318A63577D9}"/>
              </a:ext>
            </a:extLst>
          </p:cNvPr>
          <p:cNvSpPr>
            <a:spLocks noGrp="1"/>
          </p:cNvSpPr>
          <p:nvPr>
            <p:ph type="title"/>
          </p:nvPr>
        </p:nvSpPr>
        <p:spPr/>
        <p:txBody>
          <a:bodyPr/>
          <a:lstStyle/>
          <a:p>
            <a:r>
              <a:rPr lang="el-GR"/>
              <a:t>Δείκτες ενεργειακής αποδοτικότητας – ΕΣΕΚ Α/Β</a:t>
            </a:r>
            <a:endParaRPr lang="en-GB" dirty="0"/>
          </a:p>
        </p:txBody>
      </p:sp>
      <p:pic>
        <p:nvPicPr>
          <p:cNvPr id="9" name="Content Placeholder 13">
            <a:extLst>
              <a:ext uri="{FF2B5EF4-FFF2-40B4-BE49-F238E27FC236}">
                <a16:creationId xmlns:a16="http://schemas.microsoft.com/office/drawing/2014/main" xmlns="" id="{1264D97B-3513-1014-B2A6-CACA4829D9A9}"/>
              </a:ext>
            </a:extLst>
          </p:cNvPr>
          <p:cNvPicPr>
            <a:picLocks noChangeAspect="1"/>
          </p:cNvPicPr>
          <p:nvPr/>
        </p:nvPicPr>
        <p:blipFill rotWithShape="1">
          <a:blip r:embed="rId2"/>
          <a:stretch/>
        </p:blipFill>
        <p:spPr>
          <a:xfrm>
            <a:off x="1952090" y="927000"/>
            <a:ext cx="9918397" cy="4968000"/>
          </a:xfrm>
          <a:prstGeom prst="rect">
            <a:avLst/>
          </a:prstGeom>
          <a:ln>
            <a:solidFill>
              <a:schemeClr val="bg2">
                <a:lumMod val="50000"/>
              </a:schemeClr>
            </a:solidFill>
          </a:ln>
        </p:spPr>
      </p:pic>
      <p:cxnSp>
        <p:nvCxnSpPr>
          <p:cNvPr id="3" name="Ευθεία γραμμή σύνδεσης 2">
            <a:extLst>
              <a:ext uri="{FF2B5EF4-FFF2-40B4-BE49-F238E27FC236}">
                <a16:creationId xmlns:a16="http://schemas.microsoft.com/office/drawing/2014/main" xmlns="" id="{D2D06B78-643E-CDC8-A56C-D38AD2CB4A84}"/>
              </a:ext>
            </a:extLst>
          </p:cNvPr>
          <p:cNvCxnSpPr/>
          <p:nvPr/>
        </p:nvCxnSpPr>
        <p:spPr>
          <a:xfrm>
            <a:off x="6842209" y="1233443"/>
            <a:ext cx="69079" cy="4697557"/>
          </a:xfrm>
          <a:prstGeom prst="line">
            <a:avLst/>
          </a:prstGeom>
          <a:ln w="571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3908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DE701130-FBBB-4674-833E-993104246178}"/>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3</a:t>
            </a:fld>
            <a:endParaRPr lang="el-GR"/>
          </a:p>
        </p:txBody>
      </p:sp>
      <p:sp>
        <p:nvSpPr>
          <p:cNvPr id="2" name="Title 1">
            <a:extLst>
              <a:ext uri="{FF2B5EF4-FFF2-40B4-BE49-F238E27FC236}">
                <a16:creationId xmlns:a16="http://schemas.microsoft.com/office/drawing/2014/main" xmlns="" id="{73487CDC-829C-4F9D-BF9C-C68306412842}"/>
              </a:ext>
            </a:extLst>
          </p:cNvPr>
          <p:cNvSpPr>
            <a:spLocks noGrp="1"/>
          </p:cNvSpPr>
          <p:nvPr>
            <p:ph type="title"/>
          </p:nvPr>
        </p:nvSpPr>
        <p:spPr/>
        <p:txBody>
          <a:bodyPr/>
          <a:lstStyle/>
          <a:p>
            <a:r>
              <a:rPr lang="el-GR" dirty="0"/>
              <a:t>Δείκτες ενεργειακής αποδοτικότητας – ΕΣΕΚ Α/Β</a:t>
            </a:r>
            <a:endParaRPr lang="en-GB" dirty="0"/>
          </a:p>
        </p:txBody>
      </p:sp>
      <p:pic>
        <p:nvPicPr>
          <p:cNvPr id="7" name="Content Placeholder 5">
            <a:extLst>
              <a:ext uri="{FF2B5EF4-FFF2-40B4-BE49-F238E27FC236}">
                <a16:creationId xmlns:a16="http://schemas.microsoft.com/office/drawing/2014/main" xmlns="" id="{66F34E0B-BD09-18EA-E52B-6D2A7C351A1B}"/>
              </a:ext>
            </a:extLst>
          </p:cNvPr>
          <p:cNvPicPr>
            <a:picLocks noChangeAspect="1"/>
          </p:cNvPicPr>
          <p:nvPr/>
        </p:nvPicPr>
        <p:blipFill>
          <a:blip r:embed="rId2"/>
          <a:stretch>
            <a:fillRect/>
          </a:stretch>
        </p:blipFill>
        <p:spPr>
          <a:xfrm>
            <a:off x="1952089" y="927000"/>
            <a:ext cx="9973747" cy="5004000"/>
          </a:xfrm>
          <a:prstGeom prst="rect">
            <a:avLst/>
          </a:prstGeom>
          <a:ln>
            <a:solidFill>
              <a:schemeClr val="bg2">
                <a:lumMod val="50000"/>
              </a:schemeClr>
            </a:solidFill>
          </a:ln>
        </p:spPr>
      </p:pic>
    </p:spTree>
    <p:extLst>
      <p:ext uri="{BB962C8B-B14F-4D97-AF65-F5344CB8AC3E}">
        <p14:creationId xmlns:p14="http://schemas.microsoft.com/office/powerpoint/2010/main" val="148877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4915E696-1681-4271-9AAC-CBDB4F2B739D}"/>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4</a:t>
            </a:fld>
            <a:endParaRPr lang="el-GR"/>
          </a:p>
        </p:txBody>
      </p:sp>
      <p:sp>
        <p:nvSpPr>
          <p:cNvPr id="2" name="Title 1">
            <a:extLst>
              <a:ext uri="{FF2B5EF4-FFF2-40B4-BE49-F238E27FC236}">
                <a16:creationId xmlns:a16="http://schemas.microsoft.com/office/drawing/2014/main" xmlns="" id="{51ABA864-2C74-4D8C-A03B-71C62FDC3389}"/>
              </a:ext>
            </a:extLst>
          </p:cNvPr>
          <p:cNvSpPr>
            <a:spLocks noGrp="1"/>
          </p:cNvSpPr>
          <p:nvPr>
            <p:ph type="title"/>
          </p:nvPr>
        </p:nvSpPr>
        <p:spPr/>
        <p:txBody>
          <a:bodyPr>
            <a:normAutofit/>
          </a:bodyPr>
          <a:lstStyle/>
          <a:p>
            <a:r>
              <a:rPr lang="el-GR" dirty="0"/>
              <a:t>Καύσιμα ανά τύπο στις μεταφορές – ΕΣΕΚ Α/Β</a:t>
            </a:r>
            <a:endParaRPr lang="en-GB" dirty="0"/>
          </a:p>
        </p:txBody>
      </p:sp>
      <p:pic>
        <p:nvPicPr>
          <p:cNvPr id="6" name="Content Placeholder 6">
            <a:extLst>
              <a:ext uri="{FF2B5EF4-FFF2-40B4-BE49-F238E27FC236}">
                <a16:creationId xmlns:a16="http://schemas.microsoft.com/office/drawing/2014/main" xmlns="" id="{D45649DB-6E3F-E59F-3D9A-EB191D66F778}"/>
              </a:ext>
            </a:extLst>
          </p:cNvPr>
          <p:cNvPicPr>
            <a:picLocks noGrp="1" noChangeAspect="1"/>
          </p:cNvPicPr>
          <p:nvPr>
            <p:ph idx="4294967295"/>
          </p:nvPr>
        </p:nvPicPr>
        <p:blipFill>
          <a:blip r:embed="rId2"/>
          <a:stretch>
            <a:fillRect/>
          </a:stretch>
        </p:blipFill>
        <p:spPr>
          <a:xfrm>
            <a:off x="1952090" y="927000"/>
            <a:ext cx="9999504" cy="5004000"/>
          </a:xfrm>
          <a:prstGeom prst="rect">
            <a:avLst/>
          </a:prstGeom>
          <a:ln>
            <a:solidFill>
              <a:schemeClr val="bg2">
                <a:lumMod val="50000"/>
              </a:schemeClr>
            </a:solidFill>
          </a:ln>
        </p:spPr>
      </p:pic>
    </p:spTree>
    <p:extLst>
      <p:ext uri="{BB962C8B-B14F-4D97-AF65-F5344CB8AC3E}">
        <p14:creationId xmlns:p14="http://schemas.microsoft.com/office/powerpoint/2010/main" val="1429310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B24AFE68-2236-4767-9394-8EFD9D8AFF42}"/>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5</a:t>
            </a:fld>
            <a:endParaRPr lang="el-GR"/>
          </a:p>
        </p:txBody>
      </p:sp>
      <p:sp>
        <p:nvSpPr>
          <p:cNvPr id="2" name="Title 1">
            <a:extLst>
              <a:ext uri="{FF2B5EF4-FFF2-40B4-BE49-F238E27FC236}">
                <a16:creationId xmlns:a16="http://schemas.microsoft.com/office/drawing/2014/main" xmlns="" id="{F5BF821F-8728-4857-92EF-DADA5FC5E849}"/>
              </a:ext>
            </a:extLst>
          </p:cNvPr>
          <p:cNvSpPr>
            <a:spLocks noGrp="1"/>
          </p:cNvSpPr>
          <p:nvPr>
            <p:ph type="title"/>
          </p:nvPr>
        </p:nvSpPr>
        <p:spPr/>
        <p:txBody>
          <a:bodyPr/>
          <a:lstStyle/>
          <a:p>
            <a:r>
              <a:rPr lang="el-GR" dirty="0"/>
              <a:t>Εγκατεστημένη Ισχύς Ηλεκτροπαραγωγικών Μονάδων – ΕΣΕΚ Α/Β</a:t>
            </a:r>
            <a:endParaRPr lang="en-GB" dirty="0"/>
          </a:p>
        </p:txBody>
      </p:sp>
      <p:pic>
        <p:nvPicPr>
          <p:cNvPr id="6" name="Content Placeholder 9">
            <a:extLst>
              <a:ext uri="{FF2B5EF4-FFF2-40B4-BE49-F238E27FC236}">
                <a16:creationId xmlns:a16="http://schemas.microsoft.com/office/drawing/2014/main" xmlns="" id="{EC3F1311-1275-3F29-AF68-FCBE289B6446}"/>
              </a:ext>
            </a:extLst>
          </p:cNvPr>
          <p:cNvPicPr>
            <a:picLocks noChangeAspect="1"/>
          </p:cNvPicPr>
          <p:nvPr/>
        </p:nvPicPr>
        <p:blipFill>
          <a:blip r:embed="rId2"/>
          <a:stretch>
            <a:fillRect/>
          </a:stretch>
        </p:blipFill>
        <p:spPr>
          <a:xfrm>
            <a:off x="1952090" y="927000"/>
            <a:ext cx="9935110" cy="5004000"/>
          </a:xfrm>
          <a:prstGeom prst="rect">
            <a:avLst/>
          </a:prstGeom>
          <a:ln>
            <a:solidFill>
              <a:schemeClr val="bg2">
                <a:lumMod val="50000"/>
              </a:schemeClr>
            </a:solidFill>
          </a:ln>
        </p:spPr>
      </p:pic>
    </p:spTree>
    <p:extLst>
      <p:ext uri="{BB962C8B-B14F-4D97-AF65-F5344CB8AC3E}">
        <p14:creationId xmlns:p14="http://schemas.microsoft.com/office/powerpoint/2010/main" val="352682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4">
            <a:extLst>
              <a:ext uri="{FF2B5EF4-FFF2-40B4-BE49-F238E27FC236}">
                <a16:creationId xmlns:a16="http://schemas.microsoft.com/office/drawing/2014/main" xmlns="" id="{EF755971-3AD2-D041-73A1-DFDEBF6E151B}"/>
              </a:ext>
            </a:extLst>
          </p:cNvPr>
          <p:cNvPicPr>
            <a:picLocks noChangeAspect="1"/>
          </p:cNvPicPr>
          <p:nvPr/>
        </p:nvPicPr>
        <p:blipFill>
          <a:blip r:embed="rId2"/>
          <a:stretch>
            <a:fillRect/>
          </a:stretch>
        </p:blipFill>
        <p:spPr>
          <a:xfrm>
            <a:off x="1952090" y="927000"/>
            <a:ext cx="9992263" cy="5004000"/>
          </a:xfrm>
          <a:prstGeom prst="rect">
            <a:avLst/>
          </a:prstGeom>
          <a:ln>
            <a:solidFill>
              <a:schemeClr val="bg2">
                <a:lumMod val="50000"/>
              </a:schemeClr>
            </a:solidFill>
          </a:ln>
        </p:spPr>
      </p:pic>
      <p:sp>
        <p:nvSpPr>
          <p:cNvPr id="4" name="Slide Number Placeholder 3">
            <a:extLst>
              <a:ext uri="{FF2B5EF4-FFF2-40B4-BE49-F238E27FC236}">
                <a16:creationId xmlns:a16="http://schemas.microsoft.com/office/drawing/2014/main" xmlns="" id="{0A73AB9A-B141-4C2D-A06D-393C57ED553C}"/>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6</a:t>
            </a:fld>
            <a:endParaRPr lang="el-GR" dirty="0"/>
          </a:p>
        </p:txBody>
      </p:sp>
      <p:sp>
        <p:nvSpPr>
          <p:cNvPr id="8" name="Title 1">
            <a:extLst>
              <a:ext uri="{FF2B5EF4-FFF2-40B4-BE49-F238E27FC236}">
                <a16:creationId xmlns:a16="http://schemas.microsoft.com/office/drawing/2014/main" xmlns="" id="{C841CE62-4DA2-43B9-BDB9-3A0C61DCB182}"/>
              </a:ext>
            </a:extLst>
          </p:cNvPr>
          <p:cNvSpPr>
            <a:spLocks noGrp="1"/>
          </p:cNvSpPr>
          <p:nvPr>
            <p:ph type="title"/>
          </p:nvPr>
        </p:nvSpPr>
        <p:spPr/>
        <p:txBody>
          <a:bodyPr/>
          <a:lstStyle/>
          <a:p>
            <a:r>
              <a:rPr lang="el-GR" dirty="0"/>
              <a:t>Ηλεκτροπαραγωγή κατά μορφή ενέργειας – ΕΣΕΚ Α/Β</a:t>
            </a:r>
            <a:endParaRPr lang="en-GB" dirty="0"/>
          </a:p>
        </p:txBody>
      </p:sp>
    </p:spTree>
    <p:extLst>
      <p:ext uri="{BB962C8B-B14F-4D97-AF65-F5344CB8AC3E}">
        <p14:creationId xmlns:p14="http://schemas.microsoft.com/office/powerpoint/2010/main" val="3253632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6316E2D-CEA7-4016-B74E-7D05A6B82972}"/>
              </a:ext>
            </a:extLst>
          </p:cNvPr>
          <p:cNvSpPr>
            <a:spLocks noGrp="1"/>
          </p:cNvSpPr>
          <p:nvPr>
            <p:ph type="title"/>
          </p:nvPr>
        </p:nvSpPr>
        <p:spPr/>
        <p:txBody>
          <a:bodyPr>
            <a:normAutofit fontScale="90000"/>
          </a:bodyPr>
          <a:lstStyle/>
          <a:p>
            <a:r>
              <a:rPr lang="el-GR" dirty="0"/>
              <a:t>Δυναμικό Αποθήκευσης Ηλεκτρικής Ενέργειας</a:t>
            </a:r>
            <a:r>
              <a:rPr lang="en-US" dirty="0"/>
              <a:t>,</a:t>
            </a:r>
            <a:r>
              <a:rPr lang="el-GR" dirty="0"/>
              <a:t> </a:t>
            </a:r>
            <a:br>
              <a:rPr lang="el-GR" dirty="0"/>
            </a:br>
            <a:r>
              <a:rPr lang="el-GR" dirty="0"/>
              <a:t>παραγωγής υδρογόνου και συνθετικών καυσίμων από ΑΠΕ – ΕΣΕΚ Α/Β</a:t>
            </a:r>
            <a:endParaRPr lang="en-GB" dirty="0"/>
          </a:p>
        </p:txBody>
      </p:sp>
      <p:sp>
        <p:nvSpPr>
          <p:cNvPr id="4" name="Slide Number Placeholder 3">
            <a:extLst>
              <a:ext uri="{FF2B5EF4-FFF2-40B4-BE49-F238E27FC236}">
                <a16:creationId xmlns:a16="http://schemas.microsoft.com/office/drawing/2014/main" xmlns="" id="{CF8E62B7-2C1C-4F57-9F9A-07B9A3E0CE23}"/>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7</a:t>
            </a:fld>
            <a:endParaRPr lang="el-GR"/>
          </a:p>
        </p:txBody>
      </p:sp>
      <p:pic>
        <p:nvPicPr>
          <p:cNvPr id="6" name="Content Placeholder 15">
            <a:extLst>
              <a:ext uri="{FF2B5EF4-FFF2-40B4-BE49-F238E27FC236}">
                <a16:creationId xmlns:a16="http://schemas.microsoft.com/office/drawing/2014/main" xmlns="" id="{31694910-0D36-7143-8D26-A6844DBC7C02}"/>
              </a:ext>
            </a:extLst>
          </p:cNvPr>
          <p:cNvPicPr>
            <a:picLocks noChangeAspect="1"/>
          </p:cNvPicPr>
          <p:nvPr/>
        </p:nvPicPr>
        <p:blipFill>
          <a:blip r:embed="rId2"/>
          <a:stretch>
            <a:fillRect/>
          </a:stretch>
        </p:blipFill>
        <p:spPr>
          <a:xfrm>
            <a:off x="990970" y="944898"/>
            <a:ext cx="10210059" cy="5000400"/>
          </a:xfrm>
          <a:prstGeom prst="rect">
            <a:avLst/>
          </a:prstGeom>
          <a:ln>
            <a:solidFill>
              <a:schemeClr val="bg2">
                <a:lumMod val="50000"/>
              </a:schemeClr>
            </a:solidFill>
          </a:ln>
        </p:spPr>
      </p:pic>
    </p:spTree>
    <p:extLst>
      <p:ext uri="{BB962C8B-B14F-4D97-AF65-F5344CB8AC3E}">
        <p14:creationId xmlns:p14="http://schemas.microsoft.com/office/powerpoint/2010/main" val="38849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C0B9E3F9-970C-49CF-B2DC-215C63674BD5}"/>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8</a:t>
            </a:fld>
            <a:endParaRPr lang="el-GR"/>
          </a:p>
        </p:txBody>
      </p:sp>
      <p:sp>
        <p:nvSpPr>
          <p:cNvPr id="2" name="Title 1">
            <a:extLst>
              <a:ext uri="{FF2B5EF4-FFF2-40B4-BE49-F238E27FC236}">
                <a16:creationId xmlns:a16="http://schemas.microsoft.com/office/drawing/2014/main" xmlns="" id="{F04714BD-A999-48A0-AEC9-85320B81FFAB}"/>
              </a:ext>
            </a:extLst>
          </p:cNvPr>
          <p:cNvSpPr>
            <a:spLocks noGrp="1"/>
          </p:cNvSpPr>
          <p:nvPr>
            <p:ph type="title"/>
          </p:nvPr>
        </p:nvSpPr>
        <p:spPr/>
        <p:txBody>
          <a:bodyPr>
            <a:normAutofit fontScale="90000"/>
          </a:bodyPr>
          <a:lstStyle/>
          <a:p>
            <a:r>
              <a:rPr lang="el-GR" dirty="0">
                <a:solidFill>
                  <a:schemeClr val="bg2">
                    <a:lumMod val="50000"/>
                  </a:schemeClr>
                </a:solidFill>
              </a:rPr>
              <a:t>Δείκτες για την ενεργειακή αποδοτικότητα και την ηλεκτροκίνηση</a:t>
            </a:r>
            <a:br>
              <a:rPr lang="el-GR" dirty="0">
                <a:solidFill>
                  <a:schemeClr val="bg2">
                    <a:lumMod val="50000"/>
                  </a:schemeClr>
                </a:solidFill>
              </a:rPr>
            </a:br>
            <a:r>
              <a:rPr lang="el-GR" dirty="0">
                <a:solidFill>
                  <a:schemeClr val="bg2">
                    <a:lumMod val="50000"/>
                  </a:schemeClr>
                </a:solidFill>
              </a:rPr>
              <a:t>για το 2025 και το 2030</a:t>
            </a:r>
            <a:endParaRPr lang="en-GB" dirty="0">
              <a:solidFill>
                <a:schemeClr val="bg2">
                  <a:lumMod val="50000"/>
                </a:schemeClr>
              </a:solidFill>
            </a:endParaRPr>
          </a:p>
        </p:txBody>
      </p:sp>
      <p:pic>
        <p:nvPicPr>
          <p:cNvPr id="3" name="Content Placeholder 11">
            <a:extLst>
              <a:ext uri="{FF2B5EF4-FFF2-40B4-BE49-F238E27FC236}">
                <a16:creationId xmlns:a16="http://schemas.microsoft.com/office/drawing/2014/main" xmlns="" id="{7553657A-E6E7-63BD-F185-9EE12589E5B0}"/>
              </a:ext>
            </a:extLst>
          </p:cNvPr>
          <p:cNvPicPr>
            <a:picLocks noChangeAspect="1"/>
          </p:cNvPicPr>
          <p:nvPr/>
        </p:nvPicPr>
        <p:blipFill>
          <a:blip r:embed="rId2"/>
          <a:stretch>
            <a:fillRect/>
          </a:stretch>
        </p:blipFill>
        <p:spPr>
          <a:xfrm>
            <a:off x="1927157" y="1213712"/>
            <a:ext cx="10044000" cy="4066218"/>
          </a:xfrm>
          <a:prstGeom prst="rect">
            <a:avLst/>
          </a:prstGeom>
          <a:ln>
            <a:solidFill>
              <a:schemeClr val="bg2">
                <a:lumMod val="50000"/>
              </a:schemeClr>
            </a:solidFill>
          </a:ln>
        </p:spPr>
      </p:pic>
    </p:spTree>
    <p:extLst>
      <p:ext uri="{BB962C8B-B14F-4D97-AF65-F5344CB8AC3E}">
        <p14:creationId xmlns:p14="http://schemas.microsoft.com/office/powerpoint/2010/main" val="261277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0705B134-ACB2-414E-9663-FBC11EE94A48}"/>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9</a:t>
            </a:fld>
            <a:endParaRPr lang="el-GR"/>
          </a:p>
        </p:txBody>
      </p:sp>
      <p:sp>
        <p:nvSpPr>
          <p:cNvPr id="2" name="Title 1">
            <a:extLst>
              <a:ext uri="{FF2B5EF4-FFF2-40B4-BE49-F238E27FC236}">
                <a16:creationId xmlns:a16="http://schemas.microsoft.com/office/drawing/2014/main" xmlns="" id="{80987E59-6771-4CB1-900A-C123A0A3B6C5}"/>
              </a:ext>
            </a:extLst>
          </p:cNvPr>
          <p:cNvSpPr>
            <a:spLocks noGrp="1"/>
          </p:cNvSpPr>
          <p:nvPr>
            <p:ph type="title"/>
          </p:nvPr>
        </p:nvSpPr>
        <p:spPr/>
        <p:txBody>
          <a:bodyPr>
            <a:normAutofit/>
          </a:bodyPr>
          <a:lstStyle/>
          <a:p>
            <a:r>
              <a:rPr lang="el-GR" dirty="0"/>
              <a:t>Ηλεκτροπαραγωγή και Φυσικό Αέριο το</a:t>
            </a:r>
            <a:r>
              <a:rPr lang="en-US" dirty="0"/>
              <a:t> 2025</a:t>
            </a:r>
            <a:r>
              <a:rPr lang="el-GR" dirty="0"/>
              <a:t> και 2030</a:t>
            </a:r>
            <a:endParaRPr lang="en-GB" dirty="0"/>
          </a:p>
        </p:txBody>
      </p:sp>
      <p:pic>
        <p:nvPicPr>
          <p:cNvPr id="3" name="Content Placeholder 6">
            <a:extLst>
              <a:ext uri="{FF2B5EF4-FFF2-40B4-BE49-F238E27FC236}">
                <a16:creationId xmlns:a16="http://schemas.microsoft.com/office/drawing/2014/main" xmlns="" id="{373C3FB0-77DC-1EF3-744B-A1B2D05E82C1}"/>
              </a:ext>
            </a:extLst>
          </p:cNvPr>
          <p:cNvPicPr>
            <a:picLocks noChangeAspect="1"/>
          </p:cNvPicPr>
          <p:nvPr/>
        </p:nvPicPr>
        <p:blipFill>
          <a:blip r:embed="rId2"/>
          <a:stretch>
            <a:fillRect/>
          </a:stretch>
        </p:blipFill>
        <p:spPr>
          <a:xfrm>
            <a:off x="1952090" y="1346684"/>
            <a:ext cx="10008000" cy="3714775"/>
          </a:xfrm>
          <a:prstGeom prst="rect">
            <a:avLst/>
          </a:prstGeom>
          <a:ln>
            <a:solidFill>
              <a:schemeClr val="bg2">
                <a:lumMod val="50000"/>
              </a:schemeClr>
            </a:solidFill>
          </a:ln>
        </p:spPr>
      </p:pic>
    </p:spTree>
    <p:extLst>
      <p:ext uri="{BB962C8B-B14F-4D97-AF65-F5344CB8AC3E}">
        <p14:creationId xmlns:p14="http://schemas.microsoft.com/office/powerpoint/2010/main" val="34358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xmlns="" id="{66B332A4-D438-4773-A77F-5ED49A448D9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953768" y="0"/>
            <a:ext cx="8284464" cy="6858000"/>
          </a:xfrm>
          <a:custGeom>
            <a:avLst/>
            <a:gdLst>
              <a:gd name="connsiteX0" fmla="*/ 1818109 w 8284464"/>
              <a:gd name="connsiteY0" fmla="*/ 0 h 6858000"/>
              <a:gd name="connsiteX1" fmla="*/ 6466355 w 8284464"/>
              <a:gd name="connsiteY1" fmla="*/ 0 h 6858000"/>
              <a:gd name="connsiteX2" fmla="*/ 6620596 w 8284464"/>
              <a:gd name="connsiteY2" fmla="*/ 109683 h 6858000"/>
              <a:gd name="connsiteX3" fmla="*/ 8284464 w 8284464"/>
              <a:gd name="connsiteY3" fmla="*/ 3429000 h 6858000"/>
              <a:gd name="connsiteX4" fmla="*/ 6620596 w 8284464"/>
              <a:gd name="connsiteY4" fmla="*/ 6748318 h 6858000"/>
              <a:gd name="connsiteX5" fmla="*/ 6466355 w 8284464"/>
              <a:gd name="connsiteY5" fmla="*/ 6858000 h 6858000"/>
              <a:gd name="connsiteX6" fmla="*/ 1818109 w 8284464"/>
              <a:gd name="connsiteY6" fmla="*/ 6858000 h 6858000"/>
              <a:gd name="connsiteX7" fmla="*/ 1663869 w 8284464"/>
              <a:gd name="connsiteY7" fmla="*/ 6748318 h 6858000"/>
              <a:gd name="connsiteX8" fmla="*/ 0 w 8284464"/>
              <a:gd name="connsiteY8" fmla="*/ 3429000 h 6858000"/>
              <a:gd name="connsiteX9" fmla="*/ 1663869 w 8284464"/>
              <a:gd name="connsiteY9" fmla="*/ 1096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84464" h="6858000">
                <a:moveTo>
                  <a:pt x="1818109" y="0"/>
                </a:moveTo>
                <a:lnTo>
                  <a:pt x="6466355" y="0"/>
                </a:lnTo>
                <a:lnTo>
                  <a:pt x="6620596" y="109683"/>
                </a:lnTo>
                <a:cubicBezTo>
                  <a:pt x="7630666" y="865069"/>
                  <a:pt x="8284464" y="2070683"/>
                  <a:pt x="8284464" y="3429000"/>
                </a:cubicBezTo>
                <a:cubicBezTo>
                  <a:pt x="8284464" y="4787317"/>
                  <a:pt x="7630666" y="5992931"/>
                  <a:pt x="6620596" y="6748318"/>
                </a:cubicBezTo>
                <a:lnTo>
                  <a:pt x="6466355" y="6858000"/>
                </a:lnTo>
                <a:lnTo>
                  <a:pt x="1818109" y="6858000"/>
                </a:lnTo>
                <a:lnTo>
                  <a:pt x="1663869" y="6748318"/>
                </a:lnTo>
                <a:cubicBezTo>
                  <a:pt x="653798" y="5992931"/>
                  <a:pt x="0" y="4787317"/>
                  <a:pt x="0" y="3429000"/>
                </a:cubicBezTo>
                <a:cubicBezTo>
                  <a:pt x="0" y="2070683"/>
                  <a:pt x="653798" y="865069"/>
                  <a:pt x="1663869" y="109683"/>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xmlns="" id="{DF9AD32D-FF05-44F4-BD4D-9CEE89B71EB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2118360" y="0"/>
            <a:ext cx="7955280" cy="6858000"/>
          </a:xfrm>
          <a:custGeom>
            <a:avLst/>
            <a:gdLst>
              <a:gd name="connsiteX0" fmla="*/ 1962423 w 7955280"/>
              <a:gd name="connsiteY0" fmla="*/ 0 h 6858000"/>
              <a:gd name="connsiteX1" fmla="*/ 5992858 w 7955280"/>
              <a:gd name="connsiteY1" fmla="*/ 0 h 6858000"/>
              <a:gd name="connsiteX2" fmla="*/ 6040191 w 7955280"/>
              <a:gd name="connsiteY2" fmla="*/ 27216 h 6858000"/>
              <a:gd name="connsiteX3" fmla="*/ 7955280 w 7955280"/>
              <a:gd name="connsiteY3" fmla="*/ 3429000 h 6858000"/>
              <a:gd name="connsiteX4" fmla="*/ 6040191 w 7955280"/>
              <a:gd name="connsiteY4" fmla="*/ 6830784 h 6858000"/>
              <a:gd name="connsiteX5" fmla="*/ 5992858 w 7955280"/>
              <a:gd name="connsiteY5" fmla="*/ 6858000 h 6858000"/>
              <a:gd name="connsiteX6" fmla="*/ 1962423 w 7955280"/>
              <a:gd name="connsiteY6" fmla="*/ 6858000 h 6858000"/>
              <a:gd name="connsiteX7" fmla="*/ 1915089 w 7955280"/>
              <a:gd name="connsiteY7" fmla="*/ 6830784 h 6858000"/>
              <a:gd name="connsiteX8" fmla="*/ 0 w 7955280"/>
              <a:gd name="connsiteY8" fmla="*/ 3429000 h 6858000"/>
              <a:gd name="connsiteX9" fmla="*/ 1915089 w 7955280"/>
              <a:gd name="connsiteY9" fmla="*/ 272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5280" h="6858000">
                <a:moveTo>
                  <a:pt x="1962423" y="0"/>
                </a:moveTo>
                <a:lnTo>
                  <a:pt x="5992858" y="0"/>
                </a:lnTo>
                <a:lnTo>
                  <a:pt x="6040191" y="27216"/>
                </a:lnTo>
                <a:cubicBezTo>
                  <a:pt x="7188332" y="724844"/>
                  <a:pt x="7955280" y="1987357"/>
                  <a:pt x="7955280" y="3429000"/>
                </a:cubicBezTo>
                <a:cubicBezTo>
                  <a:pt x="7955280" y="4870644"/>
                  <a:pt x="7188332" y="6133157"/>
                  <a:pt x="6040191" y="6830784"/>
                </a:cubicBezTo>
                <a:lnTo>
                  <a:pt x="5992858" y="6858000"/>
                </a:lnTo>
                <a:lnTo>
                  <a:pt x="1962423" y="6858000"/>
                </a:lnTo>
                <a:lnTo>
                  <a:pt x="1915089" y="6830784"/>
                </a:lnTo>
                <a:cubicBezTo>
                  <a:pt x="766948" y="6133157"/>
                  <a:pt x="0" y="4870644"/>
                  <a:pt x="0" y="3429000"/>
                </a:cubicBezTo>
                <a:cubicBezTo>
                  <a:pt x="0" y="1987357"/>
                  <a:pt x="766948" y="724844"/>
                  <a:pt x="1915089" y="27216"/>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xmlns="" id="{D03511EA-6BDB-0FE6-10A1-95E6B0E7333E}"/>
              </a:ext>
            </a:extLst>
          </p:cNvPr>
          <p:cNvSpPr txBox="1"/>
          <p:nvPr/>
        </p:nvSpPr>
        <p:spPr>
          <a:xfrm>
            <a:off x="15766" y="1109604"/>
            <a:ext cx="1834156"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100" b="0" i="0" u="none" strike="noStrike" kern="1200" cap="none" spc="0" normalizeH="0" baseline="0" noProof="0" dirty="0">
                <a:ln>
                  <a:noFill/>
                </a:ln>
                <a:solidFill>
                  <a:prstClr val="white"/>
                </a:solidFill>
                <a:effectLst/>
                <a:uLnTx/>
                <a:uFillTx/>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100" b="0" i="0" u="none" strike="noStrike" kern="1200" cap="none" spc="0" normalizeH="0" baseline="0" noProof="0" dirty="0">
                <a:ln>
                  <a:noFill/>
                </a:ln>
                <a:solidFill>
                  <a:prstClr val="white"/>
                </a:solidFill>
                <a:effectLst/>
                <a:uLnTx/>
                <a:uFillTx/>
                <a:latin typeface="Helvetica Neue" panose="02000503000000020004" pitchFamily="2" charset="0"/>
                <a:ea typeface="Helvetica Neue" panose="02000503000000020004" pitchFamily="2" charset="0"/>
                <a:cs typeface="Helvetica Neue" panose="02000503000000020004" pitchFamily="2" charset="0"/>
              </a:rPr>
              <a:t>Κυβέρνηση</a:t>
            </a:r>
          </a:p>
        </p:txBody>
      </p:sp>
      <p:sp>
        <p:nvSpPr>
          <p:cNvPr id="14" name="Τίτλος 2">
            <a:extLst>
              <a:ext uri="{FF2B5EF4-FFF2-40B4-BE49-F238E27FC236}">
                <a16:creationId xmlns:a16="http://schemas.microsoft.com/office/drawing/2014/main" xmlns="" id="{87B2E597-C9C9-EADA-75AA-64C0E8884D2C}"/>
              </a:ext>
            </a:extLst>
          </p:cNvPr>
          <p:cNvSpPr>
            <a:spLocks noGrp="1"/>
          </p:cNvSpPr>
          <p:nvPr>
            <p:ph type="title"/>
          </p:nvPr>
        </p:nvSpPr>
        <p:spPr>
          <a:xfrm>
            <a:off x="3612008" y="2876958"/>
            <a:ext cx="4936247" cy="552042"/>
          </a:xfrm>
        </p:spPr>
        <p:txBody>
          <a:bodyPr>
            <a:noAutofit/>
          </a:bodyPr>
          <a:lstStyle/>
          <a:p>
            <a:pPr algn="ctr"/>
            <a:r>
              <a:rPr lang="el-GR" sz="3200" dirty="0">
                <a:solidFill>
                  <a:schemeClr val="tx2">
                    <a:lumMod val="50000"/>
                  </a:schemeClr>
                </a:solidFill>
              </a:rPr>
              <a:t/>
            </a:r>
            <a:br>
              <a:rPr lang="el-GR" sz="3200" dirty="0">
                <a:solidFill>
                  <a:schemeClr val="tx2">
                    <a:lumMod val="50000"/>
                  </a:schemeClr>
                </a:solidFill>
              </a:rPr>
            </a:br>
            <a:r>
              <a:rPr lang="el-GR" sz="3200" dirty="0">
                <a:solidFill>
                  <a:schemeClr val="tx2">
                    <a:lumMod val="50000"/>
                  </a:schemeClr>
                </a:solidFill>
              </a:rPr>
              <a:t/>
            </a:r>
            <a:br>
              <a:rPr lang="el-GR" sz="3200" dirty="0">
                <a:solidFill>
                  <a:schemeClr val="tx2">
                    <a:lumMod val="50000"/>
                  </a:schemeClr>
                </a:solidFill>
              </a:rPr>
            </a:br>
            <a:r>
              <a:rPr lang="el-GR" sz="3200" dirty="0">
                <a:solidFill>
                  <a:schemeClr val="tx2">
                    <a:lumMod val="50000"/>
                  </a:schemeClr>
                </a:solidFill>
              </a:rPr>
              <a:t>Σχεδιασμός του νέου ΕΣΕΚ</a:t>
            </a:r>
            <a:r>
              <a:rPr lang="en-US" sz="3200" dirty="0">
                <a:solidFill>
                  <a:schemeClr val="tx2">
                    <a:lumMod val="50000"/>
                  </a:schemeClr>
                </a:solidFill>
              </a:rPr>
              <a:t/>
            </a:r>
            <a:br>
              <a:rPr lang="en-US" sz="3200" dirty="0">
                <a:solidFill>
                  <a:schemeClr val="tx2">
                    <a:lumMod val="50000"/>
                  </a:schemeClr>
                </a:solidFill>
              </a:rPr>
            </a:br>
            <a:r>
              <a:rPr lang="el-GR" sz="1800" dirty="0">
                <a:solidFill>
                  <a:schemeClr val="tx2">
                    <a:lumMod val="50000"/>
                  </a:schemeClr>
                </a:solidFill>
              </a:rPr>
              <a:t/>
            </a:r>
            <a:br>
              <a:rPr lang="el-GR" sz="1800" dirty="0">
                <a:solidFill>
                  <a:schemeClr val="tx2">
                    <a:lumMod val="50000"/>
                  </a:schemeClr>
                </a:solidFill>
              </a:rPr>
            </a:br>
            <a:r>
              <a:rPr lang="el-GR" sz="3200" dirty="0">
                <a:solidFill>
                  <a:schemeClr val="tx2">
                    <a:lumMod val="50000"/>
                  </a:schemeClr>
                </a:solidFill>
              </a:rPr>
              <a:t/>
            </a:r>
            <a:br>
              <a:rPr lang="el-GR" sz="3200" dirty="0">
                <a:solidFill>
                  <a:schemeClr val="tx2">
                    <a:lumMod val="50000"/>
                  </a:schemeClr>
                </a:solidFill>
              </a:rPr>
            </a:br>
            <a:endParaRPr lang="el-GR" sz="3200" dirty="0">
              <a:solidFill>
                <a:schemeClr val="tx2">
                  <a:lumMod val="50000"/>
                </a:schemeClr>
              </a:solidFill>
            </a:endParaRPr>
          </a:p>
        </p:txBody>
      </p:sp>
      <p:sp>
        <p:nvSpPr>
          <p:cNvPr id="3" name="AutoShape 2">
            <a:extLst>
              <a:ext uri="{FF2B5EF4-FFF2-40B4-BE49-F238E27FC236}">
                <a16:creationId xmlns:a16="http://schemas.microsoft.com/office/drawing/2014/main" xmlns="" id="{6B6D5D7E-5B2A-F401-B8EA-F7B35E1092A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4428071"/>
      </p:ext>
    </p:extLst>
  </p:cSld>
  <p:clrMapOvr>
    <a:overrideClrMapping bg1="dk1" tx1="lt1" bg2="dk2" tx2="lt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C0B9E3F9-970C-49CF-B2DC-215C63674BD5}"/>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0</a:t>
            </a:fld>
            <a:endParaRPr lang="el-GR"/>
          </a:p>
        </p:txBody>
      </p:sp>
      <p:sp>
        <p:nvSpPr>
          <p:cNvPr id="2" name="Title 1">
            <a:extLst>
              <a:ext uri="{FF2B5EF4-FFF2-40B4-BE49-F238E27FC236}">
                <a16:creationId xmlns:a16="http://schemas.microsoft.com/office/drawing/2014/main" xmlns="" id="{F04714BD-A999-48A0-AEC9-85320B81FFAB}"/>
              </a:ext>
            </a:extLst>
          </p:cNvPr>
          <p:cNvSpPr>
            <a:spLocks noGrp="1"/>
          </p:cNvSpPr>
          <p:nvPr>
            <p:ph type="title"/>
          </p:nvPr>
        </p:nvSpPr>
        <p:spPr/>
        <p:txBody>
          <a:bodyPr>
            <a:normAutofit/>
          </a:bodyPr>
          <a:lstStyle/>
          <a:p>
            <a:r>
              <a:rPr lang="el-GR" dirty="0"/>
              <a:t>Εναλλακτικά καύσιμα το 2030</a:t>
            </a:r>
            <a:endParaRPr lang="en-GB" dirty="0"/>
          </a:p>
        </p:txBody>
      </p:sp>
      <p:pic>
        <p:nvPicPr>
          <p:cNvPr id="3" name="Content Placeholder 7">
            <a:extLst>
              <a:ext uri="{FF2B5EF4-FFF2-40B4-BE49-F238E27FC236}">
                <a16:creationId xmlns:a16="http://schemas.microsoft.com/office/drawing/2014/main" xmlns="" id="{68FE9232-3BAA-A172-EEA5-86040CF53BCC}"/>
              </a:ext>
            </a:extLst>
          </p:cNvPr>
          <p:cNvPicPr>
            <a:picLocks noChangeAspect="1"/>
          </p:cNvPicPr>
          <p:nvPr/>
        </p:nvPicPr>
        <p:blipFill>
          <a:blip r:embed="rId2"/>
          <a:stretch>
            <a:fillRect/>
          </a:stretch>
        </p:blipFill>
        <p:spPr>
          <a:xfrm>
            <a:off x="1952090" y="1343894"/>
            <a:ext cx="10044000" cy="3406374"/>
          </a:xfrm>
          <a:prstGeom prst="rect">
            <a:avLst/>
          </a:prstGeom>
          <a:ln>
            <a:solidFill>
              <a:schemeClr val="bg2">
                <a:lumMod val="50000"/>
              </a:schemeClr>
            </a:solidFill>
          </a:ln>
        </p:spPr>
      </p:pic>
    </p:spTree>
    <p:extLst>
      <p:ext uri="{BB962C8B-B14F-4D97-AF65-F5344CB8AC3E}">
        <p14:creationId xmlns:p14="http://schemas.microsoft.com/office/powerpoint/2010/main" val="194661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68740D75-6C15-4804-8449-F4577E159081}"/>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1</a:t>
            </a:fld>
            <a:endParaRPr lang="el-GR"/>
          </a:p>
        </p:txBody>
      </p:sp>
      <p:sp>
        <p:nvSpPr>
          <p:cNvPr id="2" name="Title 1">
            <a:extLst>
              <a:ext uri="{FF2B5EF4-FFF2-40B4-BE49-F238E27FC236}">
                <a16:creationId xmlns:a16="http://schemas.microsoft.com/office/drawing/2014/main" xmlns="" id="{EE26903E-DD78-445B-9925-0781F7447061}"/>
              </a:ext>
            </a:extLst>
          </p:cNvPr>
          <p:cNvSpPr>
            <a:spLocks noGrp="1"/>
          </p:cNvSpPr>
          <p:nvPr>
            <p:ph type="title"/>
          </p:nvPr>
        </p:nvSpPr>
        <p:spPr/>
        <p:txBody>
          <a:bodyPr>
            <a:normAutofit/>
          </a:bodyPr>
          <a:lstStyle/>
          <a:p>
            <a:r>
              <a:rPr lang="el-GR" dirty="0"/>
              <a:t>Δείκτες ΑΠΕ το 2025</a:t>
            </a:r>
            <a:r>
              <a:rPr lang="en-US" dirty="0"/>
              <a:t> </a:t>
            </a:r>
            <a:r>
              <a:rPr lang="el-GR" dirty="0"/>
              <a:t>και 2030</a:t>
            </a:r>
            <a:endParaRPr lang="en-GB" dirty="0"/>
          </a:p>
        </p:txBody>
      </p:sp>
      <p:pic>
        <p:nvPicPr>
          <p:cNvPr id="3" name="Content Placeholder 7">
            <a:extLst>
              <a:ext uri="{FF2B5EF4-FFF2-40B4-BE49-F238E27FC236}">
                <a16:creationId xmlns:a16="http://schemas.microsoft.com/office/drawing/2014/main" xmlns="" id="{FF9AD9A2-DF6E-5D7F-A396-49E698EC943B}"/>
              </a:ext>
            </a:extLst>
          </p:cNvPr>
          <p:cNvPicPr>
            <a:picLocks noChangeAspect="1"/>
          </p:cNvPicPr>
          <p:nvPr/>
        </p:nvPicPr>
        <p:blipFill>
          <a:blip r:embed="rId2"/>
          <a:stretch>
            <a:fillRect/>
          </a:stretch>
        </p:blipFill>
        <p:spPr>
          <a:xfrm>
            <a:off x="1917746" y="1338327"/>
            <a:ext cx="10044000" cy="4357935"/>
          </a:xfrm>
          <a:prstGeom prst="rect">
            <a:avLst/>
          </a:prstGeom>
          <a:ln>
            <a:solidFill>
              <a:schemeClr val="bg2">
                <a:lumMod val="50000"/>
              </a:schemeClr>
            </a:solidFill>
          </a:ln>
        </p:spPr>
      </p:pic>
    </p:spTree>
    <p:extLst>
      <p:ext uri="{BB962C8B-B14F-4D97-AF65-F5344CB8AC3E}">
        <p14:creationId xmlns:p14="http://schemas.microsoft.com/office/powerpoint/2010/main" val="344634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9CF9622B-2430-4E21-B212-1DDE7321FD48}"/>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2</a:t>
            </a:fld>
            <a:endParaRPr lang="el-GR"/>
          </a:p>
        </p:txBody>
      </p:sp>
      <p:sp>
        <p:nvSpPr>
          <p:cNvPr id="2" name="Title 1">
            <a:extLst>
              <a:ext uri="{FF2B5EF4-FFF2-40B4-BE49-F238E27FC236}">
                <a16:creationId xmlns:a16="http://schemas.microsoft.com/office/drawing/2014/main" xmlns="" id="{BEAD6D9E-BF79-415F-9F58-83D8AAFD6A10}"/>
              </a:ext>
            </a:extLst>
          </p:cNvPr>
          <p:cNvSpPr>
            <a:spLocks noGrp="1"/>
          </p:cNvSpPr>
          <p:nvPr>
            <p:ph type="title"/>
          </p:nvPr>
        </p:nvSpPr>
        <p:spPr/>
        <p:txBody>
          <a:bodyPr>
            <a:normAutofit/>
          </a:bodyPr>
          <a:lstStyle/>
          <a:p>
            <a:r>
              <a:rPr lang="el-GR" dirty="0"/>
              <a:t>Εκπομπές αερίων του θερμοκηπίου το 2030</a:t>
            </a:r>
            <a:endParaRPr lang="en-GB" dirty="0"/>
          </a:p>
        </p:txBody>
      </p:sp>
      <p:pic>
        <p:nvPicPr>
          <p:cNvPr id="3" name="Content Placeholder 6">
            <a:extLst>
              <a:ext uri="{FF2B5EF4-FFF2-40B4-BE49-F238E27FC236}">
                <a16:creationId xmlns:a16="http://schemas.microsoft.com/office/drawing/2014/main" xmlns="" id="{C68B17CA-3CB4-C49F-4D46-62149FBA84A7}"/>
              </a:ext>
            </a:extLst>
          </p:cNvPr>
          <p:cNvPicPr>
            <a:picLocks noChangeAspect="1"/>
          </p:cNvPicPr>
          <p:nvPr/>
        </p:nvPicPr>
        <p:blipFill>
          <a:blip r:embed="rId2"/>
          <a:stretch>
            <a:fillRect/>
          </a:stretch>
        </p:blipFill>
        <p:spPr>
          <a:xfrm>
            <a:off x="1952090" y="1343089"/>
            <a:ext cx="10044000" cy="3018472"/>
          </a:xfrm>
          <a:prstGeom prst="rect">
            <a:avLst/>
          </a:prstGeom>
          <a:ln>
            <a:solidFill>
              <a:schemeClr val="bg2">
                <a:lumMod val="50000"/>
              </a:schemeClr>
            </a:solidFill>
          </a:ln>
        </p:spPr>
      </p:pic>
    </p:spTree>
    <p:extLst>
      <p:ext uri="{BB962C8B-B14F-4D97-AF65-F5344CB8AC3E}">
        <p14:creationId xmlns:p14="http://schemas.microsoft.com/office/powerpoint/2010/main" val="946842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AD6D9E-BF79-415F-9F58-83D8AAFD6A10}"/>
              </a:ext>
            </a:extLst>
          </p:cNvPr>
          <p:cNvSpPr>
            <a:spLocks noGrp="1"/>
          </p:cNvSpPr>
          <p:nvPr>
            <p:ph type="title"/>
          </p:nvPr>
        </p:nvSpPr>
        <p:spPr/>
        <p:txBody>
          <a:bodyPr>
            <a:normAutofit/>
          </a:bodyPr>
          <a:lstStyle/>
          <a:p>
            <a:r>
              <a:rPr lang="el-GR" dirty="0"/>
              <a:t>Σύνολο επενδυτικών δαπανών, κατά μέσο όρο το διάστημα 2021-2025</a:t>
            </a:r>
            <a:endParaRPr lang="en-GB" dirty="0"/>
          </a:p>
        </p:txBody>
      </p:sp>
      <p:sp>
        <p:nvSpPr>
          <p:cNvPr id="4" name="Slide Number Placeholder 3">
            <a:extLst>
              <a:ext uri="{FF2B5EF4-FFF2-40B4-BE49-F238E27FC236}">
                <a16:creationId xmlns:a16="http://schemas.microsoft.com/office/drawing/2014/main" xmlns="" id="{9CF9622B-2430-4E21-B212-1DDE7321FD48}"/>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3</a:t>
            </a:fld>
            <a:endParaRPr lang="el-GR"/>
          </a:p>
        </p:txBody>
      </p:sp>
      <p:pic>
        <p:nvPicPr>
          <p:cNvPr id="7" name="Content Placeholder 7">
            <a:extLst>
              <a:ext uri="{FF2B5EF4-FFF2-40B4-BE49-F238E27FC236}">
                <a16:creationId xmlns:a16="http://schemas.microsoft.com/office/drawing/2014/main" xmlns="" id="{1F3F4A34-D45B-ADEE-37E4-368F8CF60E8E}"/>
              </a:ext>
            </a:extLst>
          </p:cNvPr>
          <p:cNvPicPr>
            <a:picLocks noChangeAspect="1"/>
          </p:cNvPicPr>
          <p:nvPr/>
        </p:nvPicPr>
        <p:blipFill>
          <a:blip r:embed="rId2"/>
          <a:stretch>
            <a:fillRect/>
          </a:stretch>
        </p:blipFill>
        <p:spPr>
          <a:xfrm>
            <a:off x="220618" y="1393200"/>
            <a:ext cx="11723735" cy="4071600"/>
          </a:xfrm>
          <a:prstGeom prst="rect">
            <a:avLst/>
          </a:prstGeom>
          <a:ln>
            <a:solidFill>
              <a:schemeClr val="bg2">
                <a:lumMod val="50000"/>
              </a:schemeClr>
            </a:solidFill>
          </a:ln>
        </p:spPr>
      </p:pic>
    </p:spTree>
    <p:extLst>
      <p:ext uri="{BB962C8B-B14F-4D97-AF65-F5344CB8AC3E}">
        <p14:creationId xmlns:p14="http://schemas.microsoft.com/office/powerpoint/2010/main" val="206782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AD6D9E-BF79-415F-9F58-83D8AAFD6A10}"/>
              </a:ext>
            </a:extLst>
          </p:cNvPr>
          <p:cNvSpPr>
            <a:spLocks noGrp="1"/>
          </p:cNvSpPr>
          <p:nvPr>
            <p:ph type="title"/>
          </p:nvPr>
        </p:nvSpPr>
        <p:spPr/>
        <p:txBody>
          <a:bodyPr>
            <a:normAutofit/>
          </a:bodyPr>
          <a:lstStyle/>
          <a:p>
            <a:r>
              <a:rPr lang="el-GR" dirty="0"/>
              <a:t>Σύνοψη επενδυτικών δαπανών ανά τομέα, κατά μέσο όρο το διάστημα 2026-2030</a:t>
            </a:r>
            <a:endParaRPr lang="en-GB" dirty="0"/>
          </a:p>
        </p:txBody>
      </p:sp>
      <p:sp>
        <p:nvSpPr>
          <p:cNvPr id="4" name="Slide Number Placeholder 3">
            <a:extLst>
              <a:ext uri="{FF2B5EF4-FFF2-40B4-BE49-F238E27FC236}">
                <a16:creationId xmlns:a16="http://schemas.microsoft.com/office/drawing/2014/main" xmlns="" id="{9CF9622B-2430-4E21-B212-1DDE7321FD48}"/>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4</a:t>
            </a:fld>
            <a:endParaRPr lang="el-GR"/>
          </a:p>
        </p:txBody>
      </p:sp>
      <p:pic>
        <p:nvPicPr>
          <p:cNvPr id="6" name="Content Placeholder 7">
            <a:extLst>
              <a:ext uri="{FF2B5EF4-FFF2-40B4-BE49-F238E27FC236}">
                <a16:creationId xmlns:a16="http://schemas.microsoft.com/office/drawing/2014/main" xmlns="" id="{FEB53843-7530-973C-A4FD-0BBC0DBEFB60}"/>
              </a:ext>
            </a:extLst>
          </p:cNvPr>
          <p:cNvPicPr>
            <a:picLocks noChangeAspect="1"/>
          </p:cNvPicPr>
          <p:nvPr/>
        </p:nvPicPr>
        <p:blipFill>
          <a:blip r:embed="rId2"/>
          <a:stretch>
            <a:fillRect/>
          </a:stretch>
        </p:blipFill>
        <p:spPr>
          <a:xfrm>
            <a:off x="220618" y="1247228"/>
            <a:ext cx="11723735" cy="4363543"/>
          </a:xfrm>
          <a:prstGeom prst="rect">
            <a:avLst/>
          </a:prstGeom>
          <a:ln>
            <a:solidFill>
              <a:schemeClr val="bg2">
                <a:lumMod val="50000"/>
              </a:schemeClr>
            </a:solidFill>
          </a:ln>
        </p:spPr>
      </p:pic>
    </p:spTree>
    <p:extLst>
      <p:ext uri="{BB962C8B-B14F-4D97-AF65-F5344CB8AC3E}">
        <p14:creationId xmlns:p14="http://schemas.microsoft.com/office/powerpoint/2010/main" val="1637823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AD6D9E-BF79-415F-9F58-83D8AAFD6A10}"/>
              </a:ext>
            </a:extLst>
          </p:cNvPr>
          <p:cNvSpPr>
            <a:spLocks noGrp="1"/>
          </p:cNvSpPr>
          <p:nvPr>
            <p:ph type="title"/>
          </p:nvPr>
        </p:nvSpPr>
        <p:spPr/>
        <p:txBody>
          <a:bodyPr>
            <a:normAutofit/>
          </a:bodyPr>
          <a:lstStyle/>
          <a:p>
            <a:r>
              <a:rPr lang="el-GR" dirty="0"/>
              <a:t>Σύνολο επενδυτικών δαπανών, κατά μέσο όρο το διάστημα 2026-2030</a:t>
            </a:r>
            <a:endParaRPr lang="en-GB" dirty="0"/>
          </a:p>
        </p:txBody>
      </p:sp>
      <p:sp>
        <p:nvSpPr>
          <p:cNvPr id="4" name="Slide Number Placeholder 3">
            <a:extLst>
              <a:ext uri="{FF2B5EF4-FFF2-40B4-BE49-F238E27FC236}">
                <a16:creationId xmlns:a16="http://schemas.microsoft.com/office/drawing/2014/main" xmlns="" id="{9CF9622B-2430-4E21-B212-1DDE7321FD48}"/>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5</a:t>
            </a:fld>
            <a:endParaRPr lang="el-GR"/>
          </a:p>
        </p:txBody>
      </p:sp>
      <p:pic>
        <p:nvPicPr>
          <p:cNvPr id="7" name="Content Placeholder 7">
            <a:extLst>
              <a:ext uri="{FF2B5EF4-FFF2-40B4-BE49-F238E27FC236}">
                <a16:creationId xmlns:a16="http://schemas.microsoft.com/office/drawing/2014/main" xmlns="" id="{8A852C01-D35F-4F55-5706-05B25CACB9FA}"/>
              </a:ext>
            </a:extLst>
          </p:cNvPr>
          <p:cNvPicPr>
            <a:picLocks noChangeAspect="1"/>
          </p:cNvPicPr>
          <p:nvPr/>
        </p:nvPicPr>
        <p:blipFill>
          <a:blip r:embed="rId2"/>
          <a:stretch>
            <a:fillRect/>
          </a:stretch>
        </p:blipFill>
        <p:spPr>
          <a:xfrm>
            <a:off x="234132" y="1395428"/>
            <a:ext cx="11723735" cy="4067143"/>
          </a:xfrm>
          <a:prstGeom prst="rect">
            <a:avLst/>
          </a:prstGeom>
          <a:ln>
            <a:solidFill>
              <a:schemeClr val="bg2">
                <a:lumMod val="50000"/>
              </a:schemeClr>
            </a:solidFill>
          </a:ln>
        </p:spPr>
      </p:pic>
    </p:spTree>
    <p:extLst>
      <p:ext uri="{BB962C8B-B14F-4D97-AF65-F5344CB8AC3E}">
        <p14:creationId xmlns:p14="http://schemas.microsoft.com/office/powerpoint/2010/main" val="280432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77F310DB-8F0B-4775-9475-CDF92F88662A}"/>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6</a:t>
            </a:fld>
            <a:endParaRPr lang="el-GR"/>
          </a:p>
        </p:txBody>
      </p:sp>
      <p:sp>
        <p:nvSpPr>
          <p:cNvPr id="2" name="Title 1">
            <a:extLst>
              <a:ext uri="{FF2B5EF4-FFF2-40B4-BE49-F238E27FC236}">
                <a16:creationId xmlns:a16="http://schemas.microsoft.com/office/drawing/2014/main" xmlns="" id="{AA72D030-AD56-44D5-B42E-52724AA4F2B0}"/>
              </a:ext>
            </a:extLst>
          </p:cNvPr>
          <p:cNvSpPr>
            <a:spLocks noGrp="1"/>
          </p:cNvSpPr>
          <p:nvPr>
            <p:ph type="title"/>
          </p:nvPr>
        </p:nvSpPr>
        <p:spPr/>
        <p:txBody>
          <a:bodyPr/>
          <a:lstStyle/>
          <a:p>
            <a:r>
              <a:rPr lang="el-GR" dirty="0"/>
              <a:t>Εκτίμηση μακροοικονομικών επιπτώσεων (προκαταρκτικά)</a:t>
            </a:r>
            <a:endParaRPr lang="en-GB" dirty="0"/>
          </a:p>
        </p:txBody>
      </p:sp>
      <p:pic>
        <p:nvPicPr>
          <p:cNvPr id="3" name="Content Placeholder 9">
            <a:extLst>
              <a:ext uri="{FF2B5EF4-FFF2-40B4-BE49-F238E27FC236}">
                <a16:creationId xmlns:a16="http://schemas.microsoft.com/office/drawing/2014/main" xmlns="" id="{8B12574E-77EB-EB45-493E-211D89EDDF92}"/>
              </a:ext>
            </a:extLst>
          </p:cNvPr>
          <p:cNvPicPr>
            <a:picLocks noChangeAspect="1"/>
          </p:cNvPicPr>
          <p:nvPr/>
        </p:nvPicPr>
        <p:blipFill>
          <a:blip r:embed="rId2"/>
          <a:stretch>
            <a:fillRect/>
          </a:stretch>
        </p:blipFill>
        <p:spPr>
          <a:xfrm>
            <a:off x="1982070" y="1125927"/>
            <a:ext cx="9995071" cy="5004000"/>
          </a:xfrm>
          <a:prstGeom prst="rect">
            <a:avLst/>
          </a:prstGeom>
          <a:ln>
            <a:solidFill>
              <a:schemeClr val="bg2">
                <a:lumMod val="50000"/>
              </a:schemeClr>
            </a:solidFill>
          </a:ln>
        </p:spPr>
      </p:pic>
    </p:spTree>
    <p:extLst>
      <p:ext uri="{BB962C8B-B14F-4D97-AF65-F5344CB8AC3E}">
        <p14:creationId xmlns:p14="http://schemas.microsoft.com/office/powerpoint/2010/main" val="942718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pic>
        <p:nvPicPr>
          <p:cNvPr id="5" name="Picture 7">
            <a:extLst>
              <a:ext uri="{FF2B5EF4-FFF2-40B4-BE49-F238E27FC236}">
                <a16:creationId xmlns:a16="http://schemas.microsoft.com/office/drawing/2014/main" xmlns="" id="{32D96EA4-BABB-C942-A403-B7452D3C5DE7}"/>
              </a:ext>
            </a:extLst>
          </p:cNvPr>
          <p:cNvPicPr>
            <a:picLocks noChangeAspect="1" noChangeArrowheads="1"/>
          </p:cNvPicPr>
          <p:nvPr/>
        </p:nvPicPr>
        <p:blipFill>
          <a:blip r:embed="rId2"/>
          <a:srcRect l="17096" r="17096"/>
          <a:stretch/>
        </p:blipFill>
        <p:spPr bwMode="auto">
          <a:xfrm>
            <a:off x="20" y="10"/>
            <a:ext cx="3967953" cy="3383270"/>
          </a:xfrm>
          <a:custGeom>
            <a:avLst/>
            <a:gdLst/>
            <a:ahLst/>
            <a:cxnLst/>
            <a:rect l="l" t="t" r="r" b="b"/>
            <a:pathLst>
              <a:path w="3967973" h="3383280">
                <a:moveTo>
                  <a:pt x="0" y="0"/>
                </a:moveTo>
                <a:lnTo>
                  <a:pt x="3605273" y="0"/>
                </a:lnTo>
                <a:lnTo>
                  <a:pt x="3704836" y="163887"/>
                </a:lnTo>
                <a:cubicBezTo>
                  <a:pt x="3872651" y="472804"/>
                  <a:pt x="3967973" y="826817"/>
                  <a:pt x="3967973" y="1203093"/>
                </a:cubicBezTo>
                <a:cubicBezTo>
                  <a:pt x="3967973" y="2407177"/>
                  <a:pt x="2991870" y="3383280"/>
                  <a:pt x="1787786" y="3383280"/>
                </a:cubicBezTo>
                <a:cubicBezTo>
                  <a:pt x="1110489" y="3383280"/>
                  <a:pt x="505326" y="3074435"/>
                  <a:pt x="105448" y="2589894"/>
                </a:cubicBezTo>
                <a:lnTo>
                  <a:pt x="0" y="2448881"/>
                </a:lnTo>
                <a:close/>
              </a:path>
            </a:pathLst>
          </a:custGeom>
        </p:spPr>
      </p:pic>
      <p:pic>
        <p:nvPicPr>
          <p:cNvPr id="8" name="Picture 5">
            <a:extLst>
              <a:ext uri="{FF2B5EF4-FFF2-40B4-BE49-F238E27FC236}">
                <a16:creationId xmlns:a16="http://schemas.microsoft.com/office/drawing/2014/main" xmlns="" id="{D37B2843-7F61-E412-D914-93BAF85EE9E5}"/>
              </a:ext>
            </a:extLst>
          </p:cNvPr>
          <p:cNvPicPr>
            <a:picLocks noChangeAspect="1" noChangeArrowheads="1"/>
          </p:cNvPicPr>
          <p:nvPr/>
        </p:nvPicPr>
        <p:blipFill>
          <a:blip r:embed="rId3"/>
          <a:srcRect l="16558" r="16558"/>
          <a:stretch/>
        </p:blipFill>
        <p:spPr bwMode="auto">
          <a:xfrm>
            <a:off x="8452968" y="3681465"/>
            <a:ext cx="3747932" cy="3176541"/>
          </a:xfrm>
          <a:custGeom>
            <a:avLst/>
            <a:gdLst/>
            <a:ahLst/>
            <a:cxnLst/>
            <a:rect l="l" t="t" r="r" b="b"/>
            <a:pathLst>
              <a:path w="3747932" h="3176541">
                <a:moveTo>
                  <a:pt x="3239865" y="21"/>
                </a:moveTo>
                <a:cubicBezTo>
                  <a:pt x="3261821" y="112"/>
                  <a:pt x="3278837" y="498"/>
                  <a:pt x="3290337" y="938"/>
                </a:cubicBezTo>
                <a:cubicBezTo>
                  <a:pt x="3401766" y="5376"/>
                  <a:pt x="3510165" y="23128"/>
                  <a:pt x="3616543" y="49449"/>
                </a:cubicBezTo>
                <a:lnTo>
                  <a:pt x="3747932" y="87091"/>
                </a:lnTo>
                <a:lnTo>
                  <a:pt x="3747932" y="3176541"/>
                </a:lnTo>
                <a:lnTo>
                  <a:pt x="401358" y="3176541"/>
                </a:lnTo>
                <a:lnTo>
                  <a:pt x="398780" y="3136258"/>
                </a:lnTo>
                <a:cubicBezTo>
                  <a:pt x="400956" y="3079023"/>
                  <a:pt x="437945" y="3052703"/>
                  <a:pt x="483325" y="3030665"/>
                </a:cubicBezTo>
                <a:cubicBezTo>
                  <a:pt x="498866" y="3023015"/>
                  <a:pt x="520932" y="3023320"/>
                  <a:pt x="526840" y="2999447"/>
                </a:cubicBezTo>
                <a:cubicBezTo>
                  <a:pt x="501352" y="2976798"/>
                  <a:pt x="470270" y="2995161"/>
                  <a:pt x="442916" y="2988735"/>
                </a:cubicBezTo>
                <a:cubicBezTo>
                  <a:pt x="420228" y="2983533"/>
                  <a:pt x="382618" y="2986286"/>
                  <a:pt x="413701" y="2944662"/>
                </a:cubicBezTo>
                <a:cubicBezTo>
                  <a:pt x="422716" y="2932726"/>
                  <a:pt x="412147" y="2923542"/>
                  <a:pt x="400645" y="2922625"/>
                </a:cubicBezTo>
                <a:cubicBezTo>
                  <a:pt x="308644" y="2913137"/>
                  <a:pt x="350915" y="2828968"/>
                  <a:pt x="321386" y="2784590"/>
                </a:cubicBezTo>
                <a:cubicBezTo>
                  <a:pt x="313307" y="2772348"/>
                  <a:pt x="322010" y="2751230"/>
                  <a:pt x="334753" y="2746027"/>
                </a:cubicBezTo>
                <a:cubicBezTo>
                  <a:pt x="416187" y="2711746"/>
                  <a:pt x="427377" y="2630027"/>
                  <a:pt x="466852" y="2559632"/>
                </a:cubicBezTo>
                <a:cubicBezTo>
                  <a:pt x="423957" y="2531782"/>
                  <a:pt x="372673" y="2525661"/>
                  <a:pt x="326361" y="2507602"/>
                </a:cubicBezTo>
                <a:cubicBezTo>
                  <a:pt x="278183" y="2488626"/>
                  <a:pt x="278183" y="2474547"/>
                  <a:pt x="317968" y="2419457"/>
                </a:cubicBezTo>
                <a:cubicBezTo>
                  <a:pt x="214465" y="2407519"/>
                  <a:pt x="214465" y="2407519"/>
                  <a:pt x="246479" y="2320903"/>
                </a:cubicBezTo>
                <a:cubicBezTo>
                  <a:pt x="159758" y="2312945"/>
                  <a:pt x="102570" y="2271933"/>
                  <a:pt x="89205" y="2182255"/>
                </a:cubicBezTo>
                <a:cubicBezTo>
                  <a:pt x="82677" y="2138795"/>
                  <a:pt x="43514" y="2118290"/>
                  <a:pt x="0" y="2089213"/>
                </a:cubicBezTo>
                <a:cubicBezTo>
                  <a:pt x="54081" y="2061053"/>
                  <a:pt x="90759" y="2002290"/>
                  <a:pt x="153855" y="2064423"/>
                </a:cubicBezTo>
                <a:cubicBezTo>
                  <a:pt x="176855" y="2087070"/>
                  <a:pt x="174683" y="2058300"/>
                  <a:pt x="177788" y="2050037"/>
                </a:cubicBezTo>
                <a:cubicBezTo>
                  <a:pt x="185247" y="2029838"/>
                  <a:pt x="169707" y="2016369"/>
                  <a:pt x="159450" y="2001067"/>
                </a:cubicBezTo>
                <a:cubicBezTo>
                  <a:pt x="149504" y="1985763"/>
                  <a:pt x="137691" y="1969543"/>
                  <a:pt x="134895" y="1952400"/>
                </a:cubicBezTo>
                <a:cubicBezTo>
                  <a:pt x="133031" y="1940465"/>
                  <a:pt x="142044" y="1923021"/>
                  <a:pt x="151990" y="1914144"/>
                </a:cubicBezTo>
                <a:cubicBezTo>
                  <a:pt x="204209" y="1867316"/>
                  <a:pt x="173127" y="1762030"/>
                  <a:pt x="271969" y="1748562"/>
                </a:cubicBezTo>
                <a:cubicBezTo>
                  <a:pt x="316415" y="1742443"/>
                  <a:pt x="337860" y="1703878"/>
                  <a:pt x="370497" y="1682760"/>
                </a:cubicBezTo>
                <a:cubicBezTo>
                  <a:pt x="483946" y="1608999"/>
                  <a:pt x="559787" y="1514119"/>
                  <a:pt x="594908" y="1383735"/>
                </a:cubicBezTo>
                <a:cubicBezTo>
                  <a:pt x="604543" y="1347620"/>
                  <a:pt x="641532" y="1318542"/>
                  <a:pt x="665465" y="1286713"/>
                </a:cubicBezTo>
                <a:cubicBezTo>
                  <a:pt x="653963" y="1263452"/>
                  <a:pt x="591178" y="1313647"/>
                  <a:pt x="613246" y="1252435"/>
                </a:cubicBezTo>
                <a:cubicBezTo>
                  <a:pt x="630030" y="1206524"/>
                  <a:pt x="672925" y="1178060"/>
                  <a:pt x="713332" y="1150820"/>
                </a:cubicBezTo>
                <a:cubicBezTo>
                  <a:pt x="759333" y="1119908"/>
                  <a:pt x="810307" y="1095117"/>
                  <a:pt x="831133" y="1037883"/>
                </a:cubicBezTo>
                <a:cubicBezTo>
                  <a:pt x="835485" y="1025640"/>
                  <a:pt x="849470" y="1012785"/>
                  <a:pt x="861903" y="1007887"/>
                </a:cubicBezTo>
                <a:cubicBezTo>
                  <a:pt x="1469751" y="63584"/>
                  <a:pt x="2910527" y="-1353"/>
                  <a:pt x="3239865" y="21"/>
                </a:cubicBezTo>
                <a:close/>
              </a:path>
            </a:pathLst>
          </a:custGeom>
        </p:spPr>
      </p:pic>
      <p:pic>
        <p:nvPicPr>
          <p:cNvPr id="10" name="Picture 5">
            <a:extLst>
              <a:ext uri="{FF2B5EF4-FFF2-40B4-BE49-F238E27FC236}">
                <a16:creationId xmlns:a16="http://schemas.microsoft.com/office/drawing/2014/main" xmlns="" id="{65E07D55-19CF-48DA-9BD1-94F25F624150}"/>
              </a:ext>
            </a:extLst>
          </p:cNvPr>
          <p:cNvPicPr>
            <a:picLocks noChangeAspect="1" noChangeArrowheads="1"/>
          </p:cNvPicPr>
          <p:nvPr/>
        </p:nvPicPr>
        <p:blipFill>
          <a:blip r:embed="rId4"/>
          <a:srcRect l="13707" r="13707"/>
          <a:stretch/>
        </p:blipFill>
        <p:spPr bwMode="auto">
          <a:xfrm>
            <a:off x="7621024" y="0"/>
            <a:ext cx="4579876" cy="3536502"/>
          </a:xfrm>
          <a:custGeom>
            <a:avLst/>
            <a:gdLst/>
            <a:ahLst/>
            <a:cxnLst/>
            <a:rect l="l" t="t" r="r" b="b"/>
            <a:pathLst>
              <a:path w="4579876" h="3536502">
                <a:moveTo>
                  <a:pt x="457312" y="0"/>
                </a:moveTo>
                <a:lnTo>
                  <a:pt x="4579876" y="0"/>
                </a:lnTo>
                <a:lnTo>
                  <a:pt x="4579876" y="3057029"/>
                </a:lnTo>
                <a:lnTo>
                  <a:pt x="4508441" y="3086568"/>
                </a:lnTo>
                <a:cubicBezTo>
                  <a:pt x="4391572" y="3126663"/>
                  <a:pt x="4301124" y="3221848"/>
                  <a:pt x="4183947" y="3271738"/>
                </a:cubicBezTo>
                <a:cubicBezTo>
                  <a:pt x="4099090" y="3307854"/>
                  <a:pt x="4017967" y="3354374"/>
                  <a:pt x="3930625" y="3387123"/>
                </a:cubicBezTo>
                <a:cubicBezTo>
                  <a:pt x="3723932" y="3464557"/>
                  <a:pt x="3513195" y="3526689"/>
                  <a:pt x="3290337" y="3535564"/>
                </a:cubicBezTo>
                <a:cubicBezTo>
                  <a:pt x="3106332" y="3542605"/>
                  <a:pt x="1510274" y="3535872"/>
                  <a:pt x="861903" y="2528615"/>
                </a:cubicBezTo>
                <a:cubicBezTo>
                  <a:pt x="849470" y="2523717"/>
                  <a:pt x="835485" y="2510862"/>
                  <a:pt x="831133" y="2498619"/>
                </a:cubicBezTo>
                <a:cubicBezTo>
                  <a:pt x="810307" y="2441385"/>
                  <a:pt x="759333" y="2416594"/>
                  <a:pt x="713333" y="2385682"/>
                </a:cubicBezTo>
                <a:cubicBezTo>
                  <a:pt x="672925" y="2358442"/>
                  <a:pt x="630030" y="2329978"/>
                  <a:pt x="613246" y="2284067"/>
                </a:cubicBezTo>
                <a:cubicBezTo>
                  <a:pt x="591179" y="2222855"/>
                  <a:pt x="653963" y="2273050"/>
                  <a:pt x="665465" y="2249789"/>
                </a:cubicBezTo>
                <a:cubicBezTo>
                  <a:pt x="641532" y="2217960"/>
                  <a:pt x="604543" y="2188882"/>
                  <a:pt x="594908" y="2152767"/>
                </a:cubicBezTo>
                <a:cubicBezTo>
                  <a:pt x="559787" y="2022383"/>
                  <a:pt x="483946" y="1927503"/>
                  <a:pt x="370497" y="1853742"/>
                </a:cubicBezTo>
                <a:cubicBezTo>
                  <a:pt x="337861" y="1832624"/>
                  <a:pt x="316415" y="1794059"/>
                  <a:pt x="271969" y="1787940"/>
                </a:cubicBezTo>
                <a:cubicBezTo>
                  <a:pt x="173127" y="1774472"/>
                  <a:pt x="204209" y="1669186"/>
                  <a:pt x="151990" y="1622358"/>
                </a:cubicBezTo>
                <a:cubicBezTo>
                  <a:pt x="142044" y="1613481"/>
                  <a:pt x="133031" y="1596037"/>
                  <a:pt x="134895" y="1584102"/>
                </a:cubicBezTo>
                <a:cubicBezTo>
                  <a:pt x="137691" y="1566959"/>
                  <a:pt x="149504" y="1550739"/>
                  <a:pt x="159450" y="1535435"/>
                </a:cubicBezTo>
                <a:cubicBezTo>
                  <a:pt x="169708" y="1520133"/>
                  <a:pt x="185247" y="1506664"/>
                  <a:pt x="177788" y="1486465"/>
                </a:cubicBezTo>
                <a:cubicBezTo>
                  <a:pt x="174683" y="1478202"/>
                  <a:pt x="176855" y="1449432"/>
                  <a:pt x="153856" y="1472079"/>
                </a:cubicBezTo>
                <a:cubicBezTo>
                  <a:pt x="90760" y="1534212"/>
                  <a:pt x="54082" y="1475449"/>
                  <a:pt x="0" y="1447289"/>
                </a:cubicBezTo>
                <a:cubicBezTo>
                  <a:pt x="43515" y="1418212"/>
                  <a:pt x="82677" y="1397707"/>
                  <a:pt x="89205" y="1354247"/>
                </a:cubicBezTo>
                <a:cubicBezTo>
                  <a:pt x="102570" y="1264569"/>
                  <a:pt x="159758" y="1223557"/>
                  <a:pt x="246479" y="1215599"/>
                </a:cubicBezTo>
                <a:cubicBezTo>
                  <a:pt x="214465" y="1128983"/>
                  <a:pt x="214465" y="1128983"/>
                  <a:pt x="317968" y="1117045"/>
                </a:cubicBezTo>
                <a:cubicBezTo>
                  <a:pt x="278183" y="1061955"/>
                  <a:pt x="278183" y="1047876"/>
                  <a:pt x="326362" y="1028900"/>
                </a:cubicBezTo>
                <a:cubicBezTo>
                  <a:pt x="372673" y="1010841"/>
                  <a:pt x="423957" y="1004720"/>
                  <a:pt x="466852" y="976870"/>
                </a:cubicBezTo>
                <a:cubicBezTo>
                  <a:pt x="427377" y="906475"/>
                  <a:pt x="416188" y="824756"/>
                  <a:pt x="334754" y="790475"/>
                </a:cubicBezTo>
                <a:cubicBezTo>
                  <a:pt x="322010" y="785272"/>
                  <a:pt x="313307" y="764154"/>
                  <a:pt x="321386" y="751912"/>
                </a:cubicBezTo>
                <a:cubicBezTo>
                  <a:pt x="350915" y="707534"/>
                  <a:pt x="308644" y="623365"/>
                  <a:pt x="400645" y="613877"/>
                </a:cubicBezTo>
                <a:cubicBezTo>
                  <a:pt x="412147" y="612959"/>
                  <a:pt x="422716" y="603776"/>
                  <a:pt x="413701" y="591839"/>
                </a:cubicBezTo>
                <a:cubicBezTo>
                  <a:pt x="382618" y="550216"/>
                  <a:pt x="420228" y="552969"/>
                  <a:pt x="442917" y="547767"/>
                </a:cubicBezTo>
                <a:cubicBezTo>
                  <a:pt x="470271" y="541341"/>
                  <a:pt x="501353" y="559703"/>
                  <a:pt x="526840" y="537055"/>
                </a:cubicBezTo>
                <a:cubicBezTo>
                  <a:pt x="520932" y="513181"/>
                  <a:pt x="498866" y="513487"/>
                  <a:pt x="483325" y="505836"/>
                </a:cubicBezTo>
                <a:cubicBezTo>
                  <a:pt x="437946" y="483799"/>
                  <a:pt x="400956" y="457479"/>
                  <a:pt x="398780" y="400243"/>
                </a:cubicBezTo>
                <a:cubicBezTo>
                  <a:pt x="397229" y="354028"/>
                  <a:pt x="392255" y="313323"/>
                  <a:pt x="455041" y="299242"/>
                </a:cubicBezTo>
                <a:cubicBezTo>
                  <a:pt x="481149" y="293426"/>
                  <a:pt x="473687" y="260067"/>
                  <a:pt x="458769" y="243538"/>
                </a:cubicBezTo>
                <a:cubicBezTo>
                  <a:pt x="432038" y="214157"/>
                  <a:pt x="409972" y="174981"/>
                  <a:pt x="363969" y="172227"/>
                </a:cubicBezTo>
                <a:cubicBezTo>
                  <a:pt x="335995" y="170391"/>
                  <a:pt x="314549" y="158146"/>
                  <a:pt x="292481" y="144069"/>
                </a:cubicBezTo>
                <a:cubicBezTo>
                  <a:pt x="276630" y="133966"/>
                  <a:pt x="257670" y="125398"/>
                  <a:pt x="259534" y="103668"/>
                </a:cubicBezTo>
                <a:cubicBezTo>
                  <a:pt x="261399" y="82855"/>
                  <a:pt x="279736" y="74286"/>
                  <a:pt x="298387" y="70001"/>
                </a:cubicBezTo>
                <a:cubicBezTo>
                  <a:pt x="345011" y="59672"/>
                  <a:pt x="389535" y="45726"/>
                  <a:pt x="430782" y="19902"/>
                </a:cubicBezTo>
                <a:close/>
              </a:path>
            </a:pathLst>
          </a:custGeom>
        </p:spPr>
      </p:pic>
      <p:sp>
        <p:nvSpPr>
          <p:cNvPr id="2" name="Τίτλος 1">
            <a:extLst>
              <a:ext uri="{FF2B5EF4-FFF2-40B4-BE49-F238E27FC236}">
                <a16:creationId xmlns:a16="http://schemas.microsoft.com/office/drawing/2014/main" xmlns="" id="{EAC1F31A-F8D7-0505-DC13-9CE8329D15CD}"/>
              </a:ext>
            </a:extLst>
          </p:cNvPr>
          <p:cNvSpPr txBox="1">
            <a:spLocks/>
          </p:cNvSpPr>
          <p:nvPr/>
        </p:nvSpPr>
        <p:spPr>
          <a:xfrm>
            <a:off x="259080" y="4709160"/>
            <a:ext cx="5454428" cy="1430920"/>
          </a:xfrm>
          <a:prstGeom prst="rect">
            <a:avLst/>
          </a:prstGeom>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pPr>
            <a:r>
              <a:rPr lang="el-GR" b="1" dirty="0">
                <a:solidFill>
                  <a:srgbClr val="FFC000"/>
                </a:solidFill>
                <a:latin typeface="Helvetica Neue" panose="02000503000000020004" pitchFamily="2" charset="0"/>
                <a:ea typeface="Helvetica Neue" panose="02000503000000020004" pitchFamily="2" charset="0"/>
                <a:cs typeface="Helvetica Neue" panose="02000503000000020004" pitchFamily="2" charset="0"/>
              </a:rPr>
              <a:t>Καλή Χρονιά </a:t>
            </a:r>
          </a:p>
          <a:p>
            <a:pPr algn="r">
              <a:lnSpc>
                <a:spcPct val="100000"/>
              </a:lnSpc>
            </a:pPr>
            <a:endParaRPr lang="el-GR" b="1" dirty="0">
              <a:solidFill>
                <a:srgbClr val="FFC000"/>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1047251387"/>
      </p:ext>
    </p:extLst>
  </p:cSld>
  <p:clrMapOvr>
    <a:overrideClrMapping bg1="dk1" tx1="lt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2EC709B2-55D2-46CC-9C0F-D58794DC2363}"/>
              </a:ext>
            </a:extLst>
          </p:cNvPr>
          <p:cNvSpPr>
            <a:spLocks noGrp="1"/>
          </p:cNvSpPr>
          <p:nvPr>
            <p:ph type="sldNum" sz="quarter" idx="10"/>
          </p:nvPr>
        </p:nvSpPr>
        <p:spPr/>
        <p:txBody>
          <a:bodyPr/>
          <a:lstStyle/>
          <a:p>
            <a:fld id="{CBDE7437-0217-4B79-8D13-13296DD55B1B}" type="slidenum">
              <a:rPr lang="el-GR" smtClean="0"/>
              <a:t>3</a:t>
            </a:fld>
            <a:endParaRPr lang="el-GR"/>
          </a:p>
        </p:txBody>
      </p:sp>
      <p:sp>
        <p:nvSpPr>
          <p:cNvPr id="2" name="Title 1">
            <a:extLst>
              <a:ext uri="{FF2B5EF4-FFF2-40B4-BE49-F238E27FC236}">
                <a16:creationId xmlns:a16="http://schemas.microsoft.com/office/drawing/2014/main" xmlns="" id="{C3556278-46EA-4038-A095-BAF8AD365834}"/>
              </a:ext>
            </a:extLst>
          </p:cNvPr>
          <p:cNvSpPr>
            <a:spLocks noGrp="1"/>
          </p:cNvSpPr>
          <p:nvPr>
            <p:ph type="title"/>
          </p:nvPr>
        </p:nvSpPr>
        <p:spPr/>
        <p:txBody>
          <a:bodyPr/>
          <a:lstStyle/>
          <a:p>
            <a:r>
              <a:rPr lang="el-GR" dirty="0">
                <a:solidFill>
                  <a:schemeClr val="tx2"/>
                </a:solidFill>
              </a:rPr>
              <a:t>Ευρωπαϊκό πλαίσιο διακυβέρνησης για το ΕΣΕΚ</a:t>
            </a:r>
            <a:endParaRPr lang="en-GB" dirty="0">
              <a:solidFill>
                <a:schemeClr val="tx2"/>
              </a:solidFill>
            </a:endParaRPr>
          </a:p>
        </p:txBody>
      </p:sp>
      <p:sp>
        <p:nvSpPr>
          <p:cNvPr id="5" name="Content Placeholder 4">
            <a:extLst>
              <a:ext uri="{FF2B5EF4-FFF2-40B4-BE49-F238E27FC236}">
                <a16:creationId xmlns:a16="http://schemas.microsoft.com/office/drawing/2014/main" xmlns="" id="{786AE741-E7F9-4BC6-BF1C-88C6EBC4A21C}"/>
              </a:ext>
            </a:extLst>
          </p:cNvPr>
          <p:cNvSpPr>
            <a:spLocks noGrp="1"/>
          </p:cNvSpPr>
          <p:nvPr>
            <p:ph sz="half" idx="4294967295"/>
          </p:nvPr>
        </p:nvSpPr>
        <p:spPr>
          <a:xfrm>
            <a:off x="1886505" y="1297424"/>
            <a:ext cx="4751975" cy="5359400"/>
          </a:xfrm>
        </p:spPr>
        <p:txBody>
          <a:bodyPr>
            <a:normAutofit lnSpcReduction="10000"/>
          </a:bodyPr>
          <a:lstStyle/>
          <a:p>
            <a:pPr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Η Ευρωπαϊκή Επιτροπή εκπονεί προβολές και προτείνει στόχους για ολόκληρη την ΕΕ, οι οποίοι δεν είναι δεσμευτικοί για κάθε χώρα</a:t>
            </a:r>
          </a:p>
          <a:p>
            <a:pPr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Οι στόχοι για την ΕΕ εγκρίνονται στο πλαίσιο Οδηγιών και Κανονισμών</a:t>
            </a:r>
          </a:p>
          <a:p>
            <a:pPr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Η κάθε χώρα έχει πλήρη αρμοδιότητα να αποφασίσει τους δικούς της στόχους</a:t>
            </a:r>
          </a:p>
          <a:p>
            <a:pPr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ο ΕΣΕΚ</a:t>
            </a:r>
          </a:p>
          <a:p>
            <a:pPr lvl="1"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Δικαιολογεί τους στόχους που υιοθετεί η χώρα</a:t>
            </a:r>
          </a:p>
          <a:p>
            <a:pPr lvl="1"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εριγράφει τα μέτρα πολιτικής για την επίτευξη των στόχων</a:t>
            </a:r>
          </a:p>
          <a:p>
            <a:pPr lvl="1"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αρουσιάζει αριθμητική προβολή η οποία καταδεικνύει ότι τα μέτρα και οι πόροι είναι ικανά να οδηγήσουν στην επίτευξη των στόχων</a:t>
            </a:r>
          </a:p>
          <a:p>
            <a:pPr lvl="1"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κτιμά δημοσιονομικές, μακροοικονομικές και κοινωνικές επιπτώσεις</a:t>
            </a:r>
          </a:p>
          <a:p>
            <a:pPr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ο ΕΣΕΚ κρίνεται ως προς</a:t>
            </a:r>
          </a:p>
          <a:p>
            <a:pPr lvl="1"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η φιλοδοξία των στόχων σε σύγκριση με τις δυνατότητες και το δυναμικό της χώρας</a:t>
            </a:r>
          </a:p>
          <a:p>
            <a:pPr lvl="1"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η συνεκτικότητα και συνέπεια μεταξύ μέτρων, πόρων και στόχων</a:t>
            </a:r>
            <a:endParaRPr lang="en-GB"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6" name="Content Placeholder 5">
            <a:extLst>
              <a:ext uri="{FF2B5EF4-FFF2-40B4-BE49-F238E27FC236}">
                <a16:creationId xmlns:a16="http://schemas.microsoft.com/office/drawing/2014/main" xmlns="" id="{1E77205D-86C7-459B-881A-4A37EB92F0FE}"/>
              </a:ext>
            </a:extLst>
          </p:cNvPr>
          <p:cNvSpPr>
            <a:spLocks noGrp="1"/>
          </p:cNvSpPr>
          <p:nvPr>
            <p:ph sz="half" idx="4294967295"/>
          </p:nvPr>
        </p:nvSpPr>
        <p:spPr>
          <a:xfrm>
            <a:off x="6858000" y="1297424"/>
            <a:ext cx="5098473" cy="5359400"/>
          </a:xfrm>
        </p:spPr>
        <p:txBody>
          <a:bodyPr>
            <a:normAutofit fontScale="92500" lnSpcReduction="20000"/>
          </a:bodyPr>
          <a:lstStyle/>
          <a:p>
            <a:pPr algn="just">
              <a:lnSpc>
                <a:spcPct val="11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Βάση αναφοράς είναι η προβολή και τα πακέτο πολιτικής </a:t>
            </a:r>
            <a:r>
              <a:rPr lang="en-US" sz="1400" b="1"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REPowerEU</a:t>
            </a:r>
            <a:endParaRPr lang="en-US"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a:p>
            <a:pPr algn="just">
              <a:lnSpc>
                <a:spcPct val="11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Στόχοι για ολόκληρη την ΕΕ</a:t>
            </a:r>
          </a:p>
          <a:p>
            <a:pPr lvl="1" algn="just">
              <a:lnSpc>
                <a:spcPct val="110000"/>
              </a:lnSpc>
              <a:buClr>
                <a:srgbClr val="C00000"/>
              </a:buClr>
              <a:buFont typeface="Courier New" panose="02070309020205020404" pitchFamily="49" charset="0"/>
              <a:buChar char="o"/>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Μείωση των εκπομπών αερίων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ου θερμοκηπίου κατά 55% το 2030, σε σχέση με το επίπεδο εκπομπών το 1990, και επίτευξη κλιματικής ουδετερότητας το 2050, </a:t>
            </a:r>
          </a:p>
          <a:p>
            <a:pPr lvl="1" algn="just">
              <a:lnSpc>
                <a:spcPct val="110000"/>
              </a:lnSpc>
              <a:buClr>
                <a:srgbClr val="C00000"/>
              </a:buClr>
              <a:buFont typeface="Courier New" panose="02070309020205020404" pitchFamily="49" charset="0"/>
              <a:buChar char="o"/>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Δείκτης για τις ΑΠΕ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ως ποσοστό της ακαθάριστης τελικής κατανάλωσης ενέργειας το 2030 ίσος με </a:t>
            </a:r>
            <a:r>
              <a:rPr lang="en-US"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40%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ή 45%</a:t>
            </a:r>
            <a:r>
              <a:rPr lang="en-US"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συνοδευόμενους από επιμέρους στόχους ανά τομέα κατανάλωσης (ηλεκτρική ενέργεια, θέρμανση-ψύξη και μεταφορές)</a:t>
            </a:r>
          </a:p>
          <a:p>
            <a:pPr lvl="1" algn="just">
              <a:lnSpc>
                <a:spcPct val="110000"/>
              </a:lnSpc>
              <a:buClr>
                <a:srgbClr val="C00000"/>
              </a:buClr>
              <a:buFont typeface="Courier New" panose="02070309020205020404" pitchFamily="49" charset="0"/>
              <a:buChar char="o"/>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νεργειακή αποδοτικότητα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ο 2030 ίση με -13%, μετρούμενη ως ποσοστιαία μεταβολή της τελικής κατανάλωσης ενέργειας συγκριτικά με την προβολή για το 2030 του Σεναρίου Αναφοράς 2020</a:t>
            </a:r>
          </a:p>
          <a:p>
            <a:pPr lvl="1" algn="just">
              <a:lnSpc>
                <a:spcPct val="110000"/>
              </a:lnSpc>
              <a:buClr>
                <a:srgbClr val="C00000"/>
              </a:buClr>
              <a:buFont typeface="Courier New" panose="02070309020205020404" pitchFamily="49" charset="0"/>
              <a:buChar char="o"/>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Στόχοι για ανάμειξη βιοκαυσίμων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ροηγμένων και άνω όριο στα συμβατικά) και ανανεώσιμων αερίων μη βιολογικής προέλευσης ως % στα καύσιμα των μεταφορών</a:t>
            </a:r>
          </a:p>
          <a:p>
            <a:pPr algn="just">
              <a:lnSpc>
                <a:spcPct val="11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Δεν τίθενται επιμέρους στόχοι για μετά το 2030 (ο κλιματικός μας νόμος ορίζει ενδιάμεσο 80% έως το 2040) παρά μόνο η κλιματική ουδετερότητα το 2050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net</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zero</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carbon</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Ο στόχος αυτός επιτρέπει κάποια χώρα να παραμείνει με θετικές εκπομπές το 2050 εφόσον κάποια άλλη χώρα επιτυγχάνει αρνητικές εκπομπές, έτσι ώστε να αντισταθμίζονται στο σύνολο της ΕΕ.</a:t>
            </a:r>
          </a:p>
          <a:p>
            <a:pPr lvl="1" algn="just">
              <a:lnSpc>
                <a:spcPct val="110000"/>
              </a:lnSpc>
              <a:buClr>
                <a:srgbClr val="C00000"/>
              </a:buClr>
              <a:buFont typeface="Courier New" panose="02070309020205020404" pitchFamily="49" charset="0"/>
              <a:buChar char="o"/>
            </a:pPr>
            <a:endParaRPr lang="en-GB"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p:txBody>
      </p:sp>
      <p:cxnSp>
        <p:nvCxnSpPr>
          <p:cNvPr id="3" name="Ευθεία γραμμή σύνδεσης 2">
            <a:extLst>
              <a:ext uri="{FF2B5EF4-FFF2-40B4-BE49-F238E27FC236}">
                <a16:creationId xmlns:a16="http://schemas.microsoft.com/office/drawing/2014/main" xmlns="" id="{1F6025D5-D9AA-F984-C099-8BBF1C6376F8}"/>
              </a:ext>
            </a:extLst>
          </p:cNvPr>
          <p:cNvCxnSpPr>
            <a:cxnSpLocks/>
          </p:cNvCxnSpPr>
          <p:nvPr/>
        </p:nvCxnSpPr>
        <p:spPr>
          <a:xfrm>
            <a:off x="6858000" y="1088811"/>
            <a:ext cx="0" cy="5237091"/>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9939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αριθμού διαφάνειας 1">
            <a:extLst>
              <a:ext uri="{FF2B5EF4-FFF2-40B4-BE49-F238E27FC236}">
                <a16:creationId xmlns:a16="http://schemas.microsoft.com/office/drawing/2014/main" xmlns="" id="{04F18666-2822-7D88-0819-64B64A4B1E5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EAD2AE-396D-4C5C-8389-DAC89B90429D}" type="slidenum">
              <a:rPr kumimoji="0" lang="en-US" sz="1200" b="0" i="0" u="none" strike="noStrike" kern="1200" cap="none" spc="0" normalizeH="0" baseline="0" noProof="0" smtClean="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 name="Τίτλος 2">
            <a:extLst>
              <a:ext uri="{FF2B5EF4-FFF2-40B4-BE49-F238E27FC236}">
                <a16:creationId xmlns:a16="http://schemas.microsoft.com/office/drawing/2014/main" xmlns="" id="{5FAF49A0-80E1-9C3E-3CD1-F2E53A10DEA5}"/>
              </a:ext>
            </a:extLst>
          </p:cNvPr>
          <p:cNvSpPr>
            <a:spLocks noGrp="1"/>
          </p:cNvSpPr>
          <p:nvPr>
            <p:ph type="title"/>
          </p:nvPr>
        </p:nvSpPr>
        <p:spPr>
          <a:xfrm>
            <a:off x="1952090" y="71943"/>
            <a:ext cx="10224144" cy="771652"/>
          </a:xfrm>
        </p:spPr>
        <p:txBody>
          <a:bodyPr>
            <a:normAutofit/>
          </a:bodyPr>
          <a:lstStyle/>
          <a:p>
            <a:r>
              <a:rPr lang="el-GR" dirty="0"/>
              <a:t>1. Σύνοψη Βασικών σημείων</a:t>
            </a:r>
          </a:p>
        </p:txBody>
      </p:sp>
      <p:sp>
        <p:nvSpPr>
          <p:cNvPr id="4" name="TextBox 3">
            <a:extLst>
              <a:ext uri="{FF2B5EF4-FFF2-40B4-BE49-F238E27FC236}">
                <a16:creationId xmlns:a16="http://schemas.microsoft.com/office/drawing/2014/main" xmlns="" id="{6C96D914-C089-80A5-51BD-866D65C5E90C}"/>
              </a:ext>
            </a:extLst>
          </p:cNvPr>
          <p:cNvSpPr txBox="1"/>
          <p:nvPr/>
        </p:nvSpPr>
        <p:spPr>
          <a:xfrm>
            <a:off x="1" y="2954769"/>
            <a:ext cx="1849922" cy="461665"/>
          </a:xfrm>
          <a:prstGeom prst="rect">
            <a:avLst/>
          </a:prstGeom>
          <a:noFill/>
        </p:spPr>
        <p:txBody>
          <a:bodyPr wrap="square" rtlCol="0">
            <a:spAutoFit/>
          </a:bodyPr>
          <a:lstStyle/>
          <a:p>
            <a:pPr algn="ctr"/>
            <a:r>
              <a:rPr lang="el-GR" sz="24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Εισαγωγή</a:t>
            </a:r>
          </a:p>
        </p:txBody>
      </p:sp>
      <p:sp>
        <p:nvSpPr>
          <p:cNvPr id="11" name="Θέση περιεχομένου 1">
            <a:extLst>
              <a:ext uri="{FF2B5EF4-FFF2-40B4-BE49-F238E27FC236}">
                <a16:creationId xmlns:a16="http://schemas.microsoft.com/office/drawing/2014/main" xmlns="" id="{9C176AD5-46DA-E5AE-B68D-7E71194621D8}"/>
              </a:ext>
            </a:extLst>
          </p:cNvPr>
          <p:cNvSpPr txBox="1">
            <a:spLocks/>
          </p:cNvSpPr>
          <p:nvPr/>
        </p:nvSpPr>
        <p:spPr>
          <a:xfrm>
            <a:off x="1952091" y="1398896"/>
            <a:ext cx="9904630" cy="461550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buClr>
                <a:srgbClr val="C00000"/>
              </a:buClr>
              <a:buFont typeface="Courier New" panose="02070309020205020404" pitchFamily="49" charset="0"/>
              <a:buChar char="o"/>
              <a:tabLst>
                <a:tab pos="7535863" algn="l"/>
              </a:tabLst>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Η Ελλάδα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πικαιροποιεί</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το ΕΣΕΚ της (2019) με στόχο να είναι στις </a:t>
            </a:r>
            <a:r>
              <a:rPr lang="el-GR" sz="140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ρώτες χώρες της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Ε που θα υποβάλει νέο, πιο φιλόδοξο πλάνο μέχρι τον Απρίλιο 2023.</a:t>
            </a:r>
          </a:p>
          <a:p>
            <a:pPr algn="just">
              <a:lnSpc>
                <a:spcPct val="150000"/>
              </a:lnSpc>
              <a:buClr>
                <a:srgbClr val="C00000"/>
              </a:buClr>
              <a:buFont typeface="Courier New" panose="02070309020205020404" pitchFamily="49" charset="0"/>
              <a:buChar char="o"/>
              <a:tabLst>
                <a:tab pos="7535863" algn="l"/>
              </a:tabLst>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Για τον καταρτισμό του νέου ΕΣΕΚ εφαρμόστηκε πλήρης μεθοδολογία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μοντελοποίησης</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a:t>
            </a:r>
            <a:r>
              <a:rPr lang="en-US"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PRIMES</a:t>
            </a:r>
            <a:r>
              <a:rPr lang="en-US"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και προβολής των λειτουργικών και οικονομικών στοιχείων όλων των κλάδων της ελληνικής οικονομίας και </a:t>
            </a: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ξετάστηκαν 3 εναλλακτικά σενάρια</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με διαφοροποίηση στο ρυθμό και στο μείγμα ενεργειών ενεργειακής μετάβασης (π.χ., διείσδυση ΑΠΕ, ενεργειακή αποδοτικότητα). </a:t>
            </a:r>
          </a:p>
          <a:p>
            <a:pPr algn="just">
              <a:lnSpc>
                <a:spcPct val="150000"/>
              </a:lnSpc>
              <a:buClr>
                <a:srgbClr val="C00000"/>
              </a:buClr>
              <a:buFont typeface="Courier New" panose="02070309020205020404" pitchFamily="49" charset="0"/>
              <a:buChar char="o"/>
              <a:tabLst>
                <a:tab pos="7535863" algn="l"/>
              </a:tabLst>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Με βάση τα αποτελέσματα χαράσσονται και οι αντίστοιχες πολιτικές που στόχο έχουν </a:t>
            </a:r>
          </a:p>
          <a:p>
            <a:pPr marL="857250" lvl="1" indent="-400050" algn="just">
              <a:lnSpc>
                <a:spcPct val="150000"/>
              </a:lnSpc>
              <a:buClr>
                <a:srgbClr val="C00000"/>
              </a:buClr>
              <a:buFont typeface="+mj-lt"/>
              <a:buAutoNum type="romanUcPeriod"/>
              <a:tabLst>
                <a:tab pos="7535863" algn="l"/>
              </a:tabLst>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ην επίτευξη των στόχων του ΕΣΕΚ αλλά ΚΑΙ </a:t>
            </a:r>
          </a:p>
          <a:p>
            <a:pPr marL="857250" lvl="1" indent="-400050" algn="just">
              <a:lnSpc>
                <a:spcPct val="150000"/>
              </a:lnSpc>
              <a:buClr>
                <a:srgbClr val="C00000"/>
              </a:buClr>
              <a:buFont typeface="+mj-lt"/>
              <a:buAutoNum type="romanUcPeriod"/>
              <a:tabLst>
                <a:tab pos="7535863" algn="l"/>
              </a:tabLst>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η μεγιστοποίηση της οικονομικής αξίας για τη χώρα </a:t>
            </a:r>
          </a:p>
          <a:p>
            <a:pPr algn="just">
              <a:lnSpc>
                <a:spcPct val="150000"/>
              </a:lnSpc>
              <a:buClr>
                <a:srgbClr val="C00000"/>
              </a:buClr>
              <a:buFont typeface="Courier New" panose="02070309020205020404" pitchFamily="49" charset="0"/>
              <a:buChar char="o"/>
              <a:tabLst>
                <a:tab pos="7535863" algn="l"/>
              </a:tabLst>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Όλα τα σενάρια επιτυγχάνουν τους στόχους </a:t>
            </a:r>
            <a:r>
              <a:rPr lang="en"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RePower</a:t>
            </a:r>
            <a:r>
              <a:rPr lang="en"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EU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για το 2030 και σε μεγάλο βαθμό μειώνουν τις εκπομπές της χώρας μέχρι το 2050 χωρίς όμως να φτάνουν στο μηδέν.</a:t>
            </a:r>
          </a:p>
          <a:p>
            <a:pPr algn="just">
              <a:buClr>
                <a:srgbClr val="C00000"/>
              </a:buClr>
              <a:buFont typeface="Courier New" panose="02070309020205020404" pitchFamily="49" charset="0"/>
              <a:buChar char="o"/>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a:p>
            <a:pPr algn="just">
              <a:buClr>
                <a:srgbClr val="C00000"/>
              </a:buClr>
              <a:buFont typeface="Courier New" panose="02070309020205020404" pitchFamily="49" charset="0"/>
              <a:buChar char="o"/>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3855205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αριθμού διαφάνειας 1">
            <a:extLst>
              <a:ext uri="{FF2B5EF4-FFF2-40B4-BE49-F238E27FC236}">
                <a16:creationId xmlns:a16="http://schemas.microsoft.com/office/drawing/2014/main" xmlns="" id="{04F18666-2822-7D88-0819-64B64A4B1E5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EAD2AE-396D-4C5C-8389-DAC89B90429D}" type="slidenum">
              <a:rPr kumimoji="0" lang="en-US" sz="1200" b="0" i="0" u="none" strike="noStrike" kern="1200" cap="none" spc="0" normalizeH="0" baseline="0" noProof="0" smtClean="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 name="Τίτλος 2">
            <a:extLst>
              <a:ext uri="{FF2B5EF4-FFF2-40B4-BE49-F238E27FC236}">
                <a16:creationId xmlns:a16="http://schemas.microsoft.com/office/drawing/2014/main" xmlns="" id="{5FAF49A0-80E1-9C3E-3CD1-F2E53A10DEA5}"/>
              </a:ext>
            </a:extLst>
          </p:cNvPr>
          <p:cNvSpPr>
            <a:spLocks noGrp="1"/>
          </p:cNvSpPr>
          <p:nvPr>
            <p:ph type="title"/>
          </p:nvPr>
        </p:nvSpPr>
        <p:spPr>
          <a:xfrm>
            <a:off x="1952090" y="71943"/>
            <a:ext cx="10224144" cy="771652"/>
          </a:xfrm>
        </p:spPr>
        <p:txBody>
          <a:bodyPr>
            <a:normAutofit/>
          </a:bodyPr>
          <a:lstStyle/>
          <a:p>
            <a:r>
              <a:rPr lang="el-GR" dirty="0"/>
              <a:t>2. Σύνοψη Βασικών σημείων</a:t>
            </a:r>
            <a:br>
              <a:rPr lang="el-GR" dirty="0"/>
            </a:br>
            <a:r>
              <a:rPr lang="el-GR" i="1" dirty="0">
                <a:solidFill>
                  <a:srgbClr val="C00000"/>
                </a:solidFill>
              </a:rPr>
              <a:t>7 παρεμβάσεις / τεχνολογίες αποτελούν τον πυρήνα του νέου ΕΣΕΚ της Ελλάδας</a:t>
            </a:r>
          </a:p>
        </p:txBody>
      </p:sp>
      <p:sp>
        <p:nvSpPr>
          <p:cNvPr id="4" name="TextBox 3">
            <a:extLst>
              <a:ext uri="{FF2B5EF4-FFF2-40B4-BE49-F238E27FC236}">
                <a16:creationId xmlns:a16="http://schemas.microsoft.com/office/drawing/2014/main" xmlns="" id="{6C96D914-C089-80A5-51BD-866D65C5E90C}"/>
              </a:ext>
            </a:extLst>
          </p:cNvPr>
          <p:cNvSpPr txBox="1"/>
          <p:nvPr/>
        </p:nvSpPr>
        <p:spPr>
          <a:xfrm>
            <a:off x="1" y="2954769"/>
            <a:ext cx="1849922" cy="830997"/>
          </a:xfrm>
          <a:prstGeom prst="rect">
            <a:avLst/>
          </a:prstGeom>
          <a:noFill/>
        </p:spPr>
        <p:txBody>
          <a:bodyPr wrap="square" rtlCol="0">
            <a:spAutoFit/>
          </a:bodyPr>
          <a:lstStyle/>
          <a:p>
            <a:pPr algn="ctr"/>
            <a:r>
              <a:rPr lang="el-GR" sz="24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Βασικές</a:t>
            </a:r>
          </a:p>
          <a:p>
            <a:pPr algn="ctr"/>
            <a:r>
              <a:rPr lang="el-GR" sz="24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Δράσεις</a:t>
            </a:r>
          </a:p>
        </p:txBody>
      </p:sp>
      <p:sp>
        <p:nvSpPr>
          <p:cNvPr id="11" name="Θέση περιεχομένου 1">
            <a:extLst>
              <a:ext uri="{FF2B5EF4-FFF2-40B4-BE49-F238E27FC236}">
                <a16:creationId xmlns:a16="http://schemas.microsoft.com/office/drawing/2014/main" xmlns="" id="{9C176AD5-46DA-E5AE-B68D-7E71194621D8}"/>
              </a:ext>
            </a:extLst>
          </p:cNvPr>
          <p:cNvSpPr txBox="1">
            <a:spLocks/>
          </p:cNvSpPr>
          <p:nvPr/>
        </p:nvSpPr>
        <p:spPr>
          <a:xfrm>
            <a:off x="1952090" y="1157769"/>
            <a:ext cx="9904630" cy="503904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Ραγδαία ανάπτυξη των ΑΠΕ: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νάπτυξη Φ/Β και αιολικών (και η επιτάχυνση της ανάπτυξης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υπεράκτιων</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αιολικών) με προσθήκη &gt;12</a:t>
            </a:r>
            <a:r>
              <a:rPr lang="en"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GW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μέχρι το 2030 και εκμετάλλευση του εναπομείναντος υδραυλικού δυναμικού της χώρας. </a:t>
            </a:r>
          </a:p>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ποθήκευση ενέργειας: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Η υψηλή διείσδυση ΑΠΕ θα πρέπει να συνοδευτεί και με την ανάπτυξη της απαιτούμενης αποθήκευσης για εξισορρόπηση και σταθεροποίηση του συστήματος (μπαταρίες,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ντλισιοταμίευση</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κτλ.)</a:t>
            </a:r>
          </a:p>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νεργειακή αποδοτικότητα: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νεργειακή αναβάθμιση κτιρίων (μονώσεις, συσκευές, αντλίες θερμότητας), </a:t>
            </a:r>
            <a:r>
              <a:rPr lang="en"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smart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διαχείριση ενεργειακής κατανάλωσης και αλλαγή συμπεριφορών προς μείωσης της απαιτούμενης ενέργειας ή και του προφίλ της ζήτησης. Οι δράσεις αυτές μπορούν να έχουν σημαντική προστιθέμενη αξία. </a:t>
            </a:r>
          </a:p>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ξηλεκτρισμός των ελαφρών μεταφορών: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Ηλεκτροκίνηση στα ελαφρά/ μεσαία οχήματα με ταυτόχρονη ανάπτυξη των υποδομών φόρτισης και αλληλεπίδρασης με το δίκτυο. Μεγάλο κομμάτι των απαιτούμενων επενδύσεων θα είναι σε οχήματα και τις μπαταρίες τους. Μια ολόκληρη οικονομία ανακύκλωσης μπαταριών θα πρέπει να δημιουργηθεί με πιθανό περιφερειακό ρόλο στα Βαλκάνια. </a:t>
            </a:r>
          </a:p>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Δημιουργία οικονομίας πράσινου υδρογόνου: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Με χρήση στις μεταφορές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βαρέα</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οχήματα, ναυτιλία, αεροπορία), στη βιομηχανία και υπό συνθήκες στην ηλεκτροπαραγωγή. Ήδη έχουμε σημαντική κινητικότητα στο χώρο που σε συνδυασμό με ανταγωνιστικά ΑΠΕ μπορεί να δώσει αξία στη χώρα. </a:t>
            </a:r>
          </a:p>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νάπτυξη συνθετικών, πράσινων καυσίμων (</a:t>
            </a:r>
            <a:r>
              <a:rPr lang="en"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RFNBO):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Με χρήση στις μεταφορές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βαρέα</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οχήματα, ναυτιλία, αεροπορία) – μια ολόκληρη καινούργια βιομηχανία που θα πρέπει άμεσα να αρχίσει να διαμορφώνεται. </a:t>
            </a:r>
          </a:p>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Καινοτομία και συστημικές λύσεις στη δέσμευση και αποθήκευση άνθρακα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a:t>
            </a:r>
            <a:r>
              <a:rPr lang="en"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CCUS)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για την ενεργειακή μετάβαση της βιομηχανίας της χώρας (κυρίως τσιμέντο, διύλιση, λιπάσματα). Θα απαιτηθεί εθνικό πλάνο και συντονισμός δεδομένου της έλλειψης κλίμακας των τοπικών εταιρειών. Αντίστοιχα έργα συντονίζονται από τα κράτη στην Ευρώπη και την Αμερική.</a:t>
            </a:r>
          </a:p>
          <a:p>
            <a:pPr marL="342900" indent="-342900" algn="just">
              <a:buClr>
                <a:srgbClr val="C00000"/>
              </a:buClr>
              <a:buFont typeface="+mj-lt"/>
              <a:buAutoNum type="arabicPeriod"/>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a:p>
            <a:pPr marL="342900" indent="-342900" algn="just">
              <a:buClr>
                <a:srgbClr val="C00000"/>
              </a:buClr>
              <a:buFont typeface="+mj-lt"/>
              <a:buAutoNum type="arabicPeriod"/>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a:p>
            <a:pPr marL="342900" indent="-342900" algn="just">
              <a:buClr>
                <a:srgbClr val="C00000"/>
              </a:buClr>
              <a:buFont typeface="+mj-lt"/>
              <a:buAutoNum type="arabicPeriod"/>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11649047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αριθμού διαφάνειας 1">
            <a:extLst>
              <a:ext uri="{FF2B5EF4-FFF2-40B4-BE49-F238E27FC236}">
                <a16:creationId xmlns:a16="http://schemas.microsoft.com/office/drawing/2014/main" xmlns="" id="{04F18666-2822-7D88-0819-64B64A4B1E5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EAD2AE-396D-4C5C-8389-DAC89B90429D}" type="slidenum">
              <a:rPr kumimoji="0" lang="en-US" sz="1200" b="0" i="0" u="none" strike="noStrike" kern="1200" cap="none" spc="0" normalizeH="0" baseline="0" noProof="0" smtClean="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 name="Τίτλος 2">
            <a:extLst>
              <a:ext uri="{FF2B5EF4-FFF2-40B4-BE49-F238E27FC236}">
                <a16:creationId xmlns:a16="http://schemas.microsoft.com/office/drawing/2014/main" xmlns="" id="{5FAF49A0-80E1-9C3E-3CD1-F2E53A10DEA5}"/>
              </a:ext>
            </a:extLst>
          </p:cNvPr>
          <p:cNvSpPr>
            <a:spLocks noGrp="1"/>
          </p:cNvSpPr>
          <p:nvPr>
            <p:ph type="title"/>
          </p:nvPr>
        </p:nvSpPr>
        <p:spPr>
          <a:xfrm>
            <a:off x="1952090" y="71943"/>
            <a:ext cx="10224144" cy="771652"/>
          </a:xfrm>
        </p:spPr>
        <p:txBody>
          <a:bodyPr>
            <a:normAutofit/>
          </a:bodyPr>
          <a:lstStyle/>
          <a:p>
            <a:r>
              <a:rPr lang="el-GR" dirty="0"/>
              <a:t>3. Σύνοψη Βασικών σημείων</a:t>
            </a:r>
            <a:br>
              <a:rPr lang="el-GR" dirty="0"/>
            </a:br>
            <a:endParaRPr lang="el-GR" dirty="0"/>
          </a:p>
        </p:txBody>
      </p:sp>
      <p:sp>
        <p:nvSpPr>
          <p:cNvPr id="4" name="TextBox 3">
            <a:extLst>
              <a:ext uri="{FF2B5EF4-FFF2-40B4-BE49-F238E27FC236}">
                <a16:creationId xmlns:a16="http://schemas.microsoft.com/office/drawing/2014/main" xmlns="" id="{6C96D914-C089-80A5-51BD-866D65C5E90C}"/>
              </a:ext>
            </a:extLst>
          </p:cNvPr>
          <p:cNvSpPr txBox="1"/>
          <p:nvPr/>
        </p:nvSpPr>
        <p:spPr>
          <a:xfrm>
            <a:off x="1" y="2954769"/>
            <a:ext cx="1849922" cy="461665"/>
          </a:xfrm>
          <a:prstGeom prst="rect">
            <a:avLst/>
          </a:prstGeom>
          <a:noFill/>
        </p:spPr>
        <p:txBody>
          <a:bodyPr wrap="square" rtlCol="0">
            <a:spAutoFit/>
          </a:bodyPr>
          <a:lstStyle/>
          <a:p>
            <a:pPr algn="ctr"/>
            <a:r>
              <a:rPr lang="el-GR" sz="24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Πολιτικές</a:t>
            </a:r>
          </a:p>
        </p:txBody>
      </p:sp>
      <p:sp>
        <p:nvSpPr>
          <p:cNvPr id="11" name="Θέση περιεχομένου 1">
            <a:extLst>
              <a:ext uri="{FF2B5EF4-FFF2-40B4-BE49-F238E27FC236}">
                <a16:creationId xmlns:a16="http://schemas.microsoft.com/office/drawing/2014/main" xmlns="" id="{9C176AD5-46DA-E5AE-B68D-7E71194621D8}"/>
              </a:ext>
            </a:extLst>
          </p:cNvPr>
          <p:cNvSpPr txBox="1">
            <a:spLocks/>
          </p:cNvSpPr>
          <p:nvPr/>
        </p:nvSpPr>
        <p:spPr>
          <a:xfrm>
            <a:off x="1952090" y="909477"/>
            <a:ext cx="9904630" cy="503904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Clr>
                <a:srgbClr val="C00000"/>
              </a:buClr>
              <a:buNone/>
            </a:pPr>
            <a:r>
              <a:rPr lang="el-GR" sz="1800"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Η κυβέρνηση διαμορφώνει σειρά πολιτικών που θα κατευθύνουν επενδύσεις και ενέργειες προς υλοποίηση του ΕΣΕΚ</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a:t>
            </a:r>
          </a:p>
          <a:p>
            <a:pPr marL="0" indent="0" algn="just">
              <a:lnSpc>
                <a:spcPct val="150000"/>
              </a:lnSpc>
              <a:buClr>
                <a:srgbClr val="C00000"/>
              </a:buClr>
              <a:buNone/>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Βασικές αρχές του σχεδιασμού των πολιτικών: </a:t>
            </a:r>
          </a:p>
          <a:p>
            <a:pPr marL="342900" indent="-342900" algn="just">
              <a:lnSpc>
                <a:spcPct val="150000"/>
              </a:lnSpc>
              <a:buClr>
                <a:srgbClr val="C00000"/>
              </a:buClr>
              <a:buFont typeface="+mj-lt"/>
              <a:buAutoNum type="arabicPeriod"/>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έρα από το κόστος κάθε δράσης / τεχνολογίας, αξιολογείται η </a:t>
            </a: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οικονομική συνεισφορά στη χώρα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ροστιθέμενη αξία, εμπορικό ισοζύγιο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κτλ</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για το βέλτιστο μείγμα δράσεων. Ως αποτέλεσμα μπορεί να επιλεγούν δράσεις πιο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κοστοβόρες</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αλλά πιο οικονομικά αποδοτικές (π.χ., μονώσεις κτιρίων σε σχέση με αντλίες θερμότητας). </a:t>
            </a:r>
          </a:p>
          <a:p>
            <a:pPr lvl="1" algn="just">
              <a:lnSpc>
                <a:spcPct val="150000"/>
              </a:lnSpc>
              <a:buClr>
                <a:srgbClr val="C00000"/>
              </a:buClr>
              <a:buFont typeface="Courier New" panose="02070309020205020404" pitchFamily="49" charset="0"/>
              <a:buChar char="o"/>
            </a:pPr>
            <a:r>
              <a:rPr lang="el-GR" sz="1400" b="1" i="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Η μετάβαση και οι απαιτούμενες επενδύσεις είναι μια ευκαιρία να αναπτυχθούν σχετικοί κλάδοι της οικονομίας με εθνικούς πρωταθλητές </a:t>
            </a:r>
            <a:r>
              <a:rPr lang="el-GR" sz="1400" i="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χ., ενεργειακή αποδοτικότητα, πράσινη ναυτιλία, κυκλική οικονομία μπαταριών)</a:t>
            </a:r>
          </a:p>
          <a:p>
            <a:pPr marL="342900" indent="-342900" algn="just">
              <a:lnSpc>
                <a:spcPct val="150000"/>
              </a:lnSpc>
              <a:buClr>
                <a:srgbClr val="C00000"/>
              </a:buClr>
              <a:buFont typeface="+mj-lt"/>
              <a:buAutoNum type="arabicPeriod"/>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Βασικό στοιχείο μιας ομαλής ενεργειακής μετάβασης είναι και η </a:t>
            </a: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σφάλεια εφοδιασμού / ενεργειακή επάρκεια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ης χώρας ιδιαίτερα στη μεταβατική περίοδο μέχρι το 2030. </a:t>
            </a:r>
          </a:p>
          <a:p>
            <a:pPr lvl="1" algn="just">
              <a:lnSpc>
                <a:spcPct val="15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υτό θα πρέπει να περιλαμβάνει και τις απαιτούμενες εφεδρείες μέχρι να επιτευχθεί η μετάβαση</a:t>
            </a:r>
          </a:p>
          <a:p>
            <a:pPr marL="342900" indent="-342900" algn="just">
              <a:lnSpc>
                <a:spcPct val="150000"/>
              </a:lnSpc>
              <a:buClr>
                <a:srgbClr val="C00000"/>
              </a:buClr>
              <a:buFont typeface="+mj-lt"/>
              <a:buAutoNum type="arabicPeriod"/>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Διασφάλιση των </a:t>
            </a: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παιτούμενων υποδομών σε δίκτυα ηλεκτρισμού και αερίο</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υ για την υποστήριξη της ανάπτυξης με διπλασιασμό των απαιτούμενων επενδύσεων με το αντίστοιχο πλάνο προώθησης επενδύσεων.</a:t>
            </a:r>
          </a:p>
          <a:p>
            <a:pPr marL="342900" indent="-342900" algn="just">
              <a:buClr>
                <a:srgbClr val="C00000"/>
              </a:buClr>
              <a:buFont typeface="+mj-lt"/>
              <a:buAutoNum type="arabicPeriod"/>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a:p>
            <a:pPr marL="342900" indent="-342900" algn="just">
              <a:buClr>
                <a:srgbClr val="C00000"/>
              </a:buClr>
              <a:buFont typeface="+mj-lt"/>
              <a:buAutoNum type="arabicPeriod"/>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2636983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570D2A60-A883-33C4-B8B6-E5D2DC199256}"/>
              </a:ext>
            </a:extLst>
          </p:cNvPr>
          <p:cNvSpPr>
            <a:spLocks noGrp="1"/>
          </p:cNvSpPr>
          <p:nvPr>
            <p:ph type="ctrTitle"/>
          </p:nvPr>
        </p:nvSpPr>
        <p:spPr/>
        <p:txBody>
          <a:bodyPr/>
          <a:lstStyle/>
          <a:p>
            <a:r>
              <a:rPr lang="el-GR" dirty="0"/>
              <a:t>1.</a:t>
            </a:r>
          </a:p>
        </p:txBody>
      </p:sp>
      <p:sp>
        <p:nvSpPr>
          <p:cNvPr id="3" name="Υπότιτλος 2">
            <a:extLst>
              <a:ext uri="{FF2B5EF4-FFF2-40B4-BE49-F238E27FC236}">
                <a16:creationId xmlns:a16="http://schemas.microsoft.com/office/drawing/2014/main" xmlns="" id="{51F3CBE8-72EB-1004-000B-4641BB442509}"/>
              </a:ext>
            </a:extLst>
          </p:cNvPr>
          <p:cNvSpPr>
            <a:spLocks noGrp="1"/>
          </p:cNvSpPr>
          <p:nvPr>
            <p:ph type="subTitle" idx="1"/>
          </p:nvPr>
        </p:nvSpPr>
        <p:spPr/>
        <p:txBody>
          <a:bodyPr/>
          <a:lstStyle/>
          <a:p>
            <a:r>
              <a:rPr lang="el-GR" sz="3600" dirty="0">
                <a:solidFill>
                  <a:schemeClr val="bg2"/>
                </a:solidFill>
              </a:rPr>
              <a:t>Προβολές για τα σενάρια</a:t>
            </a:r>
            <a:r>
              <a:rPr lang="en-US" sz="3600" dirty="0">
                <a:solidFill>
                  <a:schemeClr val="bg2"/>
                </a:solidFill>
              </a:rPr>
              <a:t> </a:t>
            </a:r>
            <a:r>
              <a:rPr lang="el-GR" sz="3600" dirty="0">
                <a:solidFill>
                  <a:schemeClr val="bg2"/>
                </a:solidFill>
              </a:rPr>
              <a:t>με το μοντέλο </a:t>
            </a:r>
            <a:r>
              <a:rPr lang="en" sz="3600" dirty="0">
                <a:solidFill>
                  <a:schemeClr val="bg2"/>
                </a:solidFill>
              </a:rPr>
              <a:t>PRIMES</a:t>
            </a:r>
            <a:endParaRPr lang="el-GR" sz="3600" dirty="0">
              <a:solidFill>
                <a:schemeClr val="bg2"/>
              </a:solidFill>
            </a:endParaRPr>
          </a:p>
        </p:txBody>
      </p:sp>
      <p:sp>
        <p:nvSpPr>
          <p:cNvPr id="4" name="Θέση αριθμού διαφάνειας 3">
            <a:extLst>
              <a:ext uri="{FF2B5EF4-FFF2-40B4-BE49-F238E27FC236}">
                <a16:creationId xmlns:a16="http://schemas.microsoft.com/office/drawing/2014/main" xmlns="" id="{09DE5017-0D07-7760-00AD-C45A04A129B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2C32F2-A6BF-6B40-BDDB-278227C059F8}" type="slidenum">
              <a:rPr kumimoji="0" lang="en-US" altLang="el-GR" sz="1200" b="0" i="0" u="none" strike="noStrike" kern="1200" cap="none" spc="0" normalizeH="0" baseline="0" noProof="0" smtClean="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altLang="el-GR" sz="1200" b="0" i="0" u="none" strike="noStrike" kern="1200" cap="none" spc="0" normalizeH="0" baseline="0" noProof="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156741315"/>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C97A659-A6B3-43FC-B3CF-679FF174D5D0}"/>
              </a:ext>
            </a:extLst>
          </p:cNvPr>
          <p:cNvSpPr>
            <a:spLocks noGrp="1"/>
          </p:cNvSpPr>
          <p:nvPr>
            <p:ph type="title"/>
          </p:nvPr>
        </p:nvSpPr>
        <p:spPr/>
        <p:txBody>
          <a:bodyPr>
            <a:normAutofit/>
          </a:bodyPr>
          <a:lstStyle/>
          <a:p>
            <a:r>
              <a:rPr lang="el-GR" dirty="0"/>
              <a:t>Στόχοι για το νέο ΕΣΕΚ</a:t>
            </a:r>
            <a:endParaRPr lang="en-GB" dirty="0"/>
          </a:p>
        </p:txBody>
      </p:sp>
      <p:sp>
        <p:nvSpPr>
          <p:cNvPr id="5" name="Slide Number Placeholder 4">
            <a:extLst>
              <a:ext uri="{FF2B5EF4-FFF2-40B4-BE49-F238E27FC236}">
                <a16:creationId xmlns:a16="http://schemas.microsoft.com/office/drawing/2014/main" xmlns="" id="{6308D686-2F41-4FD5-A765-243AAB0BB3EC}"/>
              </a:ext>
            </a:extLst>
          </p:cNvPr>
          <p:cNvSpPr>
            <a:spLocks noGrp="1"/>
          </p:cNvSpPr>
          <p:nvPr>
            <p:ph type="sldNum" sz="quarter" idx="4294967295"/>
          </p:nvPr>
        </p:nvSpPr>
        <p:spPr>
          <a:xfrm>
            <a:off x="11522075" y="6443663"/>
            <a:ext cx="669925" cy="288925"/>
          </a:xfrm>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8</a:t>
            </a:fld>
            <a:endParaRPr lang="el-GR"/>
          </a:p>
        </p:txBody>
      </p:sp>
      <p:pic>
        <p:nvPicPr>
          <p:cNvPr id="7" name="Content Placeholder 11">
            <a:extLst>
              <a:ext uri="{FF2B5EF4-FFF2-40B4-BE49-F238E27FC236}">
                <a16:creationId xmlns:a16="http://schemas.microsoft.com/office/drawing/2014/main" xmlns="" id="{32AE0BC9-FCC7-55A2-EABC-8CAA3DB6D383}"/>
              </a:ext>
            </a:extLst>
          </p:cNvPr>
          <p:cNvPicPr>
            <a:picLocks noGrp="1"/>
          </p:cNvPicPr>
          <p:nvPr>
            <p:ph idx="1"/>
          </p:nvPr>
        </p:nvPicPr>
        <p:blipFill>
          <a:blip r:embed="rId2"/>
          <a:stretch>
            <a:fillRect/>
          </a:stretch>
        </p:blipFill>
        <p:spPr>
          <a:xfrm>
            <a:off x="220617" y="1374633"/>
            <a:ext cx="11736000" cy="4572000"/>
          </a:xfrm>
          <a:ln>
            <a:solidFill>
              <a:schemeClr val="tx1"/>
            </a:solidFill>
          </a:ln>
        </p:spPr>
      </p:pic>
    </p:spTree>
    <p:extLst>
      <p:ext uri="{BB962C8B-B14F-4D97-AF65-F5344CB8AC3E}">
        <p14:creationId xmlns:p14="http://schemas.microsoft.com/office/powerpoint/2010/main" val="847777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3E7AC28-99AB-469A-AAA1-2D04DD95D1EE}"/>
              </a:ext>
            </a:extLst>
          </p:cNvPr>
          <p:cNvSpPr>
            <a:spLocks noGrp="1"/>
          </p:cNvSpPr>
          <p:nvPr>
            <p:ph type="title"/>
          </p:nvPr>
        </p:nvSpPr>
        <p:spPr/>
        <p:txBody>
          <a:bodyPr>
            <a:normAutofit/>
          </a:bodyPr>
          <a:lstStyle/>
          <a:p>
            <a:r>
              <a:rPr lang="el-GR" dirty="0"/>
              <a:t>Εκπομπές αερίων του θερμοκηπίου</a:t>
            </a:r>
            <a:r>
              <a:rPr lang="en-GB" dirty="0"/>
              <a:t> (</a:t>
            </a:r>
            <a:r>
              <a:rPr lang="el-GR" dirty="0"/>
              <a:t>εκτός</a:t>
            </a:r>
            <a:r>
              <a:rPr lang="en-GB" dirty="0"/>
              <a:t> LULUCF)</a:t>
            </a:r>
            <a:r>
              <a:rPr lang="el-GR" dirty="0"/>
              <a:t> – ΕΣΕΚ Α/Β</a:t>
            </a:r>
          </a:p>
        </p:txBody>
      </p:sp>
      <p:sp>
        <p:nvSpPr>
          <p:cNvPr id="4" name="Slide Number Placeholder 3">
            <a:extLst>
              <a:ext uri="{FF2B5EF4-FFF2-40B4-BE49-F238E27FC236}">
                <a16:creationId xmlns:a16="http://schemas.microsoft.com/office/drawing/2014/main" xmlns="" id="{68E442E1-AA58-4F31-80CC-112FBEDDA897}"/>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9</a:t>
            </a:fld>
            <a:endParaRPr lang="el-GR" dirty="0"/>
          </a:p>
        </p:txBody>
      </p:sp>
      <p:pic>
        <p:nvPicPr>
          <p:cNvPr id="6" name="Content Placeholder 5">
            <a:extLst>
              <a:ext uri="{FF2B5EF4-FFF2-40B4-BE49-F238E27FC236}">
                <a16:creationId xmlns:a16="http://schemas.microsoft.com/office/drawing/2014/main" xmlns="" id="{674D53FE-04B2-EE79-B657-10518C28AE96}"/>
              </a:ext>
            </a:extLst>
          </p:cNvPr>
          <p:cNvPicPr>
            <a:picLocks/>
          </p:cNvPicPr>
          <p:nvPr/>
        </p:nvPicPr>
        <p:blipFill>
          <a:blip r:embed="rId2"/>
          <a:stretch>
            <a:fillRect/>
          </a:stretch>
        </p:blipFill>
        <p:spPr>
          <a:xfrm>
            <a:off x="208353" y="927279"/>
            <a:ext cx="11736000" cy="5004000"/>
          </a:xfrm>
          <a:prstGeom prst="rect">
            <a:avLst/>
          </a:prstGeom>
          <a:ln>
            <a:solidFill>
              <a:schemeClr val="bg2">
                <a:lumMod val="50000"/>
              </a:schemeClr>
            </a:solidFill>
          </a:ln>
        </p:spPr>
      </p:pic>
    </p:spTree>
    <p:extLst>
      <p:ext uri="{BB962C8B-B14F-4D97-AF65-F5344CB8AC3E}">
        <p14:creationId xmlns:p14="http://schemas.microsoft.com/office/powerpoint/2010/main" val="153518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260</TotalTime>
  <Words>1124</Words>
  <Application>Microsoft Office PowerPoint</Application>
  <PresentationFormat>Widescreen</PresentationFormat>
  <Paragraphs>100</Paragraphs>
  <Slides>27</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9" baseType="lpstr">
      <vt:lpstr>Arial</vt:lpstr>
      <vt:lpstr>Calibri</vt:lpstr>
      <vt:lpstr>Calibri Light</vt:lpstr>
      <vt:lpstr>Courier New</vt:lpstr>
      <vt:lpstr>Georgia</vt:lpstr>
      <vt:lpstr>Helvetica Neue</vt:lpstr>
      <vt:lpstr>Segoe UI</vt:lpstr>
      <vt:lpstr>Verdana</vt:lpstr>
      <vt:lpstr>Wingdings</vt:lpstr>
      <vt:lpstr>Θέμα του Office</vt:lpstr>
      <vt:lpstr>1_Θέμα του Office</vt:lpstr>
      <vt:lpstr>think-cell Slide</vt:lpstr>
      <vt:lpstr>ΝΕΟ ΕΣΕΚ</vt:lpstr>
      <vt:lpstr>  Σχεδιασμός του νέου ΕΣΕΚ   </vt:lpstr>
      <vt:lpstr>Ευρωπαϊκό πλαίσιο διακυβέρνησης για το ΕΣΕΚ</vt:lpstr>
      <vt:lpstr>1. Σύνοψη Βασικών σημείων</vt:lpstr>
      <vt:lpstr>2. Σύνοψη Βασικών σημείων 7 παρεμβάσεις / τεχνολογίες αποτελούν τον πυρήνα του νέου ΕΣΕΚ της Ελλάδας</vt:lpstr>
      <vt:lpstr>3. Σύνοψη Βασικών σημείων </vt:lpstr>
      <vt:lpstr>1.</vt:lpstr>
      <vt:lpstr>Στόχοι για το νέο ΕΣΕΚ</vt:lpstr>
      <vt:lpstr>Εκπομπές αερίων του θερμοκηπίου (εκτός LULUCF) – ΕΣΕΚ Α/Β</vt:lpstr>
      <vt:lpstr>Προϋπολογισμός εκπομπών Αερίων του Θερμοκηπίου (σωρευτικές εκπομπές)</vt:lpstr>
      <vt:lpstr>ΕΣΕΚ Α/Β</vt:lpstr>
      <vt:lpstr>Δείκτες ενεργειακής αποδοτικότητας – ΕΣΕΚ Α/Β</vt:lpstr>
      <vt:lpstr>Δείκτες ενεργειακής αποδοτικότητας – ΕΣΕΚ Α/Β</vt:lpstr>
      <vt:lpstr>Καύσιμα ανά τύπο στις μεταφορές – ΕΣΕΚ Α/Β</vt:lpstr>
      <vt:lpstr>Εγκατεστημένη Ισχύς Ηλεκτροπαραγωγικών Μονάδων – ΕΣΕΚ Α/Β</vt:lpstr>
      <vt:lpstr>Ηλεκτροπαραγωγή κατά μορφή ενέργειας – ΕΣΕΚ Α/Β</vt:lpstr>
      <vt:lpstr>Δυναμικό Αποθήκευσης Ηλεκτρικής Ενέργειας,  παραγωγής υδρογόνου και συνθετικών καυσίμων από ΑΠΕ – ΕΣΕΚ Α/Β</vt:lpstr>
      <vt:lpstr>Δείκτες για την ενεργειακή αποδοτικότητα και την ηλεκτροκίνηση για το 2025 και το 2030</vt:lpstr>
      <vt:lpstr>Ηλεκτροπαραγωγή και Φυσικό Αέριο το 2025 και 2030</vt:lpstr>
      <vt:lpstr>Εναλλακτικά καύσιμα το 2030</vt:lpstr>
      <vt:lpstr>Δείκτες ΑΠΕ το 2025 και 2030</vt:lpstr>
      <vt:lpstr>Εκπομπές αερίων του θερμοκηπίου το 2030</vt:lpstr>
      <vt:lpstr>Σύνολο επενδυτικών δαπανών, κατά μέσο όρο το διάστημα 2021-2025</vt:lpstr>
      <vt:lpstr>Σύνοψη επενδυτικών δαπανών ανά τομέα, κατά μέσο όρο το διάστημα 2026-2030</vt:lpstr>
      <vt:lpstr>Σύνολο επενδυτικών δαπανών, κατά μέσο όρο το διάστημα 2026-2030</vt:lpstr>
      <vt:lpstr>Εκτίμηση μακροοικονομικών επιπτώσεων (προκαταρκτικά)</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του PowerPoint</dc:title>
  <dc:creator>Vassilis Vassios</dc:creator>
  <cp:lastModifiedBy>Pantelis Arsenis</cp:lastModifiedBy>
  <cp:revision>105</cp:revision>
  <dcterms:created xsi:type="dcterms:W3CDTF">2021-06-04T11:38:07Z</dcterms:created>
  <dcterms:modified xsi:type="dcterms:W3CDTF">2023-01-18T13:51:27Z</dcterms:modified>
</cp:coreProperties>
</file>